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4.xml" ContentType="application/vnd.openxmlformats-officedocument.presentationml.tags+xml"/>
  <Override PartName="/ppt/notesSlides/notesSlide1.xml" ContentType="application/vnd.openxmlformats-officedocument.presentationml.notesSlide+xml"/>
  <Override PartName="/ppt/tags/tag95.xml" ContentType="application/vnd.openxmlformats-officedocument.presentationml.tags+xml"/>
  <Override PartName="/ppt/notesSlides/notesSlide2.xml" ContentType="application/vnd.openxmlformats-officedocument.presentationml.notesSlide+xml"/>
  <Override PartName="/ppt/tags/tag96.xml" ContentType="application/vnd.openxmlformats-officedocument.presentationml.tags+xml"/>
  <Override PartName="/ppt/notesSlides/notesSlide3.xml" ContentType="application/vnd.openxmlformats-officedocument.presentationml.notesSlide+xml"/>
  <Override PartName="/ppt/tags/tag97.xml" ContentType="application/vnd.openxmlformats-officedocument.presentationml.tags+xml"/>
  <Override PartName="/ppt/notesSlides/notesSlide4.xml" ContentType="application/vnd.openxmlformats-officedocument.presentationml.notesSlide+xml"/>
  <Override PartName="/ppt/tags/tag98.xml" ContentType="application/vnd.openxmlformats-officedocument.presentationml.tags+xml"/>
  <Override PartName="/ppt/notesSlides/notesSlide5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69" r:id="rId1"/>
  </p:sldMasterIdLst>
  <p:notesMasterIdLst>
    <p:notesMasterId r:id="rId11"/>
  </p:notesMasterIdLst>
  <p:handoutMasterIdLst>
    <p:handoutMasterId r:id="rId12"/>
  </p:handoutMasterIdLst>
  <p:sldIdLst>
    <p:sldId id="2134805284" r:id="rId2"/>
    <p:sldId id="2134805287" r:id="rId3"/>
    <p:sldId id="2134805288" r:id="rId4"/>
    <p:sldId id="2134805289" r:id="rId5"/>
    <p:sldId id="2134805290" r:id="rId6"/>
    <p:sldId id="2134805291" r:id="rId7"/>
    <p:sldId id="2134805292" r:id="rId8"/>
    <p:sldId id="2134805294" r:id="rId9"/>
    <p:sldId id="2134805293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75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FF66FF"/>
    <a:srgbClr val="FD9002"/>
    <a:srgbClr val="FA4481"/>
    <a:srgbClr val="1DE9FF"/>
    <a:srgbClr val="66FFFF"/>
    <a:srgbClr val="FF9900"/>
    <a:srgbClr val="99FF66"/>
    <a:srgbClr val="139200"/>
    <a:srgbClr val="369A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1433" autoAdjust="0"/>
  </p:normalViewPr>
  <p:slideViewPr>
    <p:cSldViewPr snapToGrid="0" snapToObjects="1" showGuides="1">
      <p:cViewPr varScale="1">
        <p:scale>
          <a:sx n="115" d="100"/>
          <a:sy n="115" d="100"/>
        </p:scale>
        <p:origin x="420" y="108"/>
      </p:cViewPr>
      <p:guideLst>
        <p:guide pos="3840"/>
        <p:guide orient="horz" pos="75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-26856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2966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CF277B-2B2D-4A52-B764-A8BFFF7C72B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32E7C71-92C2-4C65-AAC5-13B8C473ACE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E2FDDD-A1D4-4177-8444-E5221BE49A25}" type="datetimeFigureOut">
              <a:rPr lang="en-GB" smtClean="0"/>
              <a:t>08/12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1B936A-9456-497F-896D-EB0A744901C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EB13B5-DFF6-40A2-9CA0-1CF501D0D03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772725-DA1C-4D30-B10A-574656A6150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57653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80376-9849-0641-980F-B64B5DF60C01}" type="datetimeFigureOut">
              <a:rPr lang="de-DE" smtClean="0"/>
              <a:t>08.12.20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9F2F47-17B9-B440-9B67-93B9C4BEB08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962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8494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9883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86812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7837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50034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8742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4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4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2.xml"/><Relationship Id="rId7" Type="http://schemas.openxmlformats.org/officeDocument/2006/relationships/image" Target="../media/image8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64.xml"/><Relationship Id="rId7" Type="http://schemas.openxmlformats.org/officeDocument/2006/relationships/image" Target="../media/image8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6.xml"/><Relationship Id="rId7" Type="http://schemas.openxmlformats.org/officeDocument/2006/relationships/image" Target="../media/image8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1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8.xml"/><Relationship Id="rId7" Type="http://schemas.openxmlformats.org/officeDocument/2006/relationships/image" Target="../media/image8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0.xml"/><Relationship Id="rId7" Type="http://schemas.openxmlformats.org/officeDocument/2006/relationships/image" Target="../media/image3.emf"/><Relationship Id="rId2" Type="http://schemas.openxmlformats.org/officeDocument/2006/relationships/tags" Target="../tags/tag69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3.xml"/><Relationship Id="rId7" Type="http://schemas.openxmlformats.org/officeDocument/2006/relationships/image" Target="../media/image3.emf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1.png"/><Relationship Id="rId4" Type="http://schemas.openxmlformats.org/officeDocument/2006/relationships/tags" Target="../tags/tag74.xml"/><Relationship Id="rId9" Type="http://schemas.openxmlformats.org/officeDocument/2006/relationships/image" Target="../media/image9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6.xml"/><Relationship Id="rId7" Type="http://schemas.openxmlformats.org/officeDocument/2006/relationships/image" Target="../media/image3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2.png"/><Relationship Id="rId4" Type="http://schemas.openxmlformats.org/officeDocument/2006/relationships/tags" Target="../tags/tag77.xml"/><Relationship Id="rId9" Type="http://schemas.openxmlformats.org/officeDocument/2006/relationships/image" Target="../media/image9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2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8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8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91.xml"/><Relationship Id="rId7" Type="http://schemas.openxmlformats.org/officeDocument/2006/relationships/image" Target="../media/image13.jpeg"/><Relationship Id="rId2" Type="http://schemas.openxmlformats.org/officeDocument/2006/relationships/tags" Target="../tags/tag9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4.emf"/><Relationship Id="rId2" Type="http://schemas.openxmlformats.org/officeDocument/2006/relationships/tags" Target="../tags/tag92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6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CHWARZ links // Bild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754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06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7EB04B2-B630-41B2-AFB3-553D6397A80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22241" y="0"/>
            <a:ext cx="6969759" cy="6858000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69759" h="6858000">
                <a:moveTo>
                  <a:pt x="0" y="0"/>
                </a:moveTo>
                <a:lnTo>
                  <a:pt x="6969759" y="0"/>
                </a:lnTo>
                <a:lnTo>
                  <a:pt x="6969759" y="6858000"/>
                </a:lnTo>
                <a:lnTo>
                  <a:pt x="508945" y="6858000"/>
                </a:lnTo>
                <a:lnTo>
                  <a:pt x="3706883" y="1"/>
                </a:lnTo>
                <a:lnTo>
                  <a:pt x="833898" y="1"/>
                </a:lnTo>
                <a:lnTo>
                  <a:pt x="833897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7" name="Freeform 20">
            <a:extLst>
              <a:ext uri="{FF2B5EF4-FFF2-40B4-BE49-F238E27FC236}">
                <a16:creationId xmlns:a16="http://schemas.microsoft.com/office/drawing/2014/main" id="{20143032-539B-475F-916F-D6751F8BCF55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F7F2D2A-67E7-48AB-9757-E47BE416C04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4889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1044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9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82F7FFF-4C5B-4019-9384-D49F46D526EB}"/>
              </a:ext>
            </a:extLst>
          </p:cNvPr>
          <p:cNvGrpSpPr/>
          <p:nvPr/>
        </p:nvGrpSpPr>
        <p:grpSpPr>
          <a:xfrm>
            <a:off x="218788" y="4130611"/>
            <a:ext cx="11754424" cy="2396064"/>
            <a:chOff x="705451" y="5067472"/>
            <a:chExt cx="11671993" cy="237926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586F8AD-DF01-425F-82E1-C7B3B54D2332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BEDEC5-A311-4772-8ED2-5EF31FB83501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E7D64E6-1F9F-4943-B9B8-CBECB838132F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DB665266-C462-42A5-A4D5-0A4E4B3C8209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 userDrawn="1"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19B77B6-560F-4AB3-8F49-584C755101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3617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A4A3A4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110" userDrawn="1">
          <p15:clr>
            <a:srgbClr val="F26B43"/>
          </p15:clr>
        </p15:guide>
        <p15:guide id="9" pos="226" userDrawn="1">
          <p15:clr>
            <a:srgbClr val="F26B43"/>
          </p15:clr>
        </p15:guide>
        <p15:guide id="10" pos="7452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Partnerlogo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464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41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9" name="Group 13">
            <a:extLst>
              <a:ext uri="{FF2B5EF4-FFF2-40B4-BE49-F238E27FC236}">
                <a16:creationId xmlns:a16="http://schemas.microsoft.com/office/drawing/2014/main" id="{335203DB-BB95-45FD-92B6-E081F17DE4F9}"/>
              </a:ext>
            </a:extLst>
          </p:cNvPr>
          <p:cNvGrpSpPr/>
          <p:nvPr userDrawn="1"/>
        </p:nvGrpSpPr>
        <p:grpSpPr>
          <a:xfrm>
            <a:off x="218788" y="4130611"/>
            <a:ext cx="11754424" cy="2396064"/>
            <a:chOff x="705451" y="5067472"/>
            <a:chExt cx="11671993" cy="2379260"/>
          </a:xfrm>
        </p:grpSpPr>
        <p:grpSp>
          <p:nvGrpSpPr>
            <p:cNvPr id="30" name="Group 15">
              <a:extLst>
                <a:ext uri="{FF2B5EF4-FFF2-40B4-BE49-F238E27FC236}">
                  <a16:creationId xmlns:a16="http://schemas.microsoft.com/office/drawing/2014/main" id="{AAA4E5A4-94CD-4627-AE97-DEF771CC8485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32" name="Rectangle 17">
                <a:extLst>
                  <a:ext uri="{FF2B5EF4-FFF2-40B4-BE49-F238E27FC236}">
                    <a16:creationId xmlns:a16="http://schemas.microsoft.com/office/drawing/2014/main" id="{49DF0C5F-5F84-4CEC-84D6-C9910C47507D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33" name="Rectangle 18">
                <a:extLst>
                  <a:ext uri="{FF2B5EF4-FFF2-40B4-BE49-F238E27FC236}">
                    <a16:creationId xmlns:a16="http://schemas.microsoft.com/office/drawing/2014/main" id="{5C7CF1D4-9F77-4732-A3CE-9212756F6675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1B2B8562-DFB8-4D2A-A47E-0EBC958016A1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grpSp>
        <p:nvGrpSpPr>
          <p:cNvPr id="15" name="Group 13">
            <a:extLst>
              <a:ext uri="{FF2B5EF4-FFF2-40B4-BE49-F238E27FC236}">
                <a16:creationId xmlns:a16="http://schemas.microsoft.com/office/drawing/2014/main" id="{87F5A82D-EEDB-48C0-9382-EE0628DDB34F}"/>
              </a:ext>
            </a:extLst>
          </p:cNvPr>
          <p:cNvGrpSpPr/>
          <p:nvPr userDrawn="1"/>
        </p:nvGrpSpPr>
        <p:grpSpPr>
          <a:xfrm>
            <a:off x="359290" y="4130611"/>
            <a:ext cx="11613922" cy="2396064"/>
            <a:chOff x="844968" y="5067472"/>
            <a:chExt cx="11532476" cy="2379260"/>
          </a:xfrm>
        </p:grpSpPr>
        <p:grpSp>
          <p:nvGrpSpPr>
            <p:cNvPr id="22" name="Group 15">
              <a:extLst>
                <a:ext uri="{FF2B5EF4-FFF2-40B4-BE49-F238E27FC236}">
                  <a16:creationId xmlns:a16="http://schemas.microsoft.com/office/drawing/2014/main" id="{0C85F3B6-DE09-41F2-92AB-4AF818562994}"/>
                </a:ext>
              </a:extLst>
            </p:cNvPr>
            <p:cNvGrpSpPr/>
            <p:nvPr/>
          </p:nvGrpSpPr>
          <p:grpSpPr>
            <a:xfrm>
              <a:off x="844968" y="5067472"/>
              <a:ext cx="11532476" cy="2379260"/>
              <a:chOff x="998896" y="4724559"/>
              <a:chExt cx="13633352" cy="2812691"/>
            </a:xfrm>
          </p:grpSpPr>
          <p:sp>
            <p:nvSpPr>
              <p:cNvPr id="27" name="Rectangle 17">
                <a:extLst>
                  <a:ext uri="{FF2B5EF4-FFF2-40B4-BE49-F238E27FC236}">
                    <a16:creationId xmlns:a16="http://schemas.microsoft.com/office/drawing/2014/main" id="{9D1197FA-2349-4878-8140-4CBC5EC9E534}"/>
                  </a:ext>
                </a:extLst>
              </p:cNvPr>
              <p:cNvSpPr/>
              <p:nvPr/>
            </p:nvSpPr>
            <p:spPr>
              <a:xfrm>
                <a:off x="998896" y="4724559"/>
                <a:ext cx="13111536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28" name="Rectangle 18">
                <a:extLst>
                  <a:ext uri="{FF2B5EF4-FFF2-40B4-BE49-F238E27FC236}">
                    <a16:creationId xmlns:a16="http://schemas.microsoft.com/office/drawing/2014/main" id="{5CD863F0-DA7E-4ED3-9AFB-3FC439CFDF59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id="{725F7311-C3D1-45E1-B266-854264697917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 userDrawn="1"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5A0093-C8EA-44AF-B4B0-FF9BBF7FEE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6C0C2256-F31B-4578-8FDF-D88F94784B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82025" y="5438409"/>
            <a:ext cx="2206625" cy="552450"/>
          </a:xfrm>
          <a:custGeom>
            <a:avLst/>
            <a:gdLst>
              <a:gd name="connsiteX0" fmla="*/ 92077 w 2206625"/>
              <a:gd name="connsiteY0" fmla="*/ 0 h 552450"/>
              <a:gd name="connsiteX1" fmla="*/ 2114548 w 2206625"/>
              <a:gd name="connsiteY1" fmla="*/ 0 h 552450"/>
              <a:gd name="connsiteX2" fmla="*/ 2206625 w 2206625"/>
              <a:gd name="connsiteY2" fmla="*/ 92077 h 552450"/>
              <a:gd name="connsiteX3" fmla="*/ 2206625 w 2206625"/>
              <a:gd name="connsiteY3" fmla="*/ 460373 h 552450"/>
              <a:gd name="connsiteX4" fmla="*/ 2114548 w 2206625"/>
              <a:gd name="connsiteY4" fmla="*/ 552450 h 552450"/>
              <a:gd name="connsiteX5" fmla="*/ 92077 w 2206625"/>
              <a:gd name="connsiteY5" fmla="*/ 552450 h 552450"/>
              <a:gd name="connsiteX6" fmla="*/ 0 w 2206625"/>
              <a:gd name="connsiteY6" fmla="*/ 460373 h 552450"/>
              <a:gd name="connsiteX7" fmla="*/ 0 w 2206625"/>
              <a:gd name="connsiteY7" fmla="*/ 92077 h 552450"/>
              <a:gd name="connsiteX8" fmla="*/ 92077 w 2206625"/>
              <a:gd name="connsiteY8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06625" h="552450">
                <a:moveTo>
                  <a:pt x="92077" y="0"/>
                </a:moveTo>
                <a:lnTo>
                  <a:pt x="2114548" y="0"/>
                </a:lnTo>
                <a:cubicBezTo>
                  <a:pt x="2165401" y="0"/>
                  <a:pt x="2206625" y="41224"/>
                  <a:pt x="2206625" y="92077"/>
                </a:cubicBezTo>
                <a:lnTo>
                  <a:pt x="2206625" y="460373"/>
                </a:lnTo>
                <a:cubicBezTo>
                  <a:pt x="2206625" y="511226"/>
                  <a:pt x="2165401" y="552450"/>
                  <a:pt x="2114548" y="552450"/>
                </a:cubicBezTo>
                <a:lnTo>
                  <a:pt x="92077" y="552450"/>
                </a:lnTo>
                <a:cubicBezTo>
                  <a:pt x="41224" y="552450"/>
                  <a:pt x="0" y="511226"/>
                  <a:pt x="0" y="460373"/>
                </a:cubicBezTo>
                <a:lnTo>
                  <a:pt x="0" y="92077"/>
                </a:lnTo>
                <a:cubicBezTo>
                  <a:pt x="0" y="41224"/>
                  <a:pt x="41224" y="0"/>
                  <a:pt x="92077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798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A4A3A4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110" userDrawn="1">
          <p15:clr>
            <a:srgbClr val="F26B43"/>
          </p15:clr>
        </p15:guide>
        <p15:guide id="9" pos="226" userDrawn="1">
          <p15:clr>
            <a:srgbClr val="F26B43"/>
          </p15:clr>
        </p15:guide>
        <p15:guide id="10" pos="7452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 // Bilplatzhalter mit Text (1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9011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08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AFB56EF-E792-40E5-AEB2-936FD2D0D4D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61991 w 12192000"/>
              <a:gd name="connsiteY0" fmla="*/ 339114 h 6858000"/>
              <a:gd name="connsiteX1" fmla="*/ 1 w 12192000"/>
              <a:gd name="connsiteY1" fmla="*/ 410557 h 6858000"/>
              <a:gd name="connsiteX2" fmla="*/ 1 w 12192000"/>
              <a:gd name="connsiteY2" fmla="*/ 421468 h 6858000"/>
              <a:gd name="connsiteX3" fmla="*/ 1 w 12192000"/>
              <a:gd name="connsiteY3" fmla="*/ 426812 h 6858000"/>
              <a:gd name="connsiteX4" fmla="*/ 1 w 12192000"/>
              <a:gd name="connsiteY4" fmla="*/ 445011 h 6858000"/>
              <a:gd name="connsiteX5" fmla="*/ 1 w 12192000"/>
              <a:gd name="connsiteY5" fmla="*/ 465201 h 6858000"/>
              <a:gd name="connsiteX6" fmla="*/ 1 w 12192000"/>
              <a:gd name="connsiteY6" fmla="*/ 470545 h 6858000"/>
              <a:gd name="connsiteX7" fmla="*/ 1 w 12192000"/>
              <a:gd name="connsiteY7" fmla="*/ 490176 h 6858000"/>
              <a:gd name="connsiteX8" fmla="*/ 1 w 12192000"/>
              <a:gd name="connsiteY8" fmla="*/ 510367 h 6858000"/>
              <a:gd name="connsiteX9" fmla="*/ 1 w 12192000"/>
              <a:gd name="connsiteY9" fmla="*/ 515710 h 6858000"/>
              <a:gd name="connsiteX10" fmla="*/ 1 w 12192000"/>
              <a:gd name="connsiteY10" fmla="*/ 523515 h 6858000"/>
              <a:gd name="connsiteX11" fmla="*/ 1 w 12192000"/>
              <a:gd name="connsiteY11" fmla="*/ 533909 h 6858000"/>
              <a:gd name="connsiteX12" fmla="*/ 1 w 12192000"/>
              <a:gd name="connsiteY12" fmla="*/ 543706 h 6858000"/>
              <a:gd name="connsiteX13" fmla="*/ 1 w 12192000"/>
              <a:gd name="connsiteY13" fmla="*/ 549050 h 6858000"/>
              <a:gd name="connsiteX14" fmla="*/ 1 w 12192000"/>
              <a:gd name="connsiteY14" fmla="*/ 554100 h 6858000"/>
              <a:gd name="connsiteX15" fmla="*/ 1 w 12192000"/>
              <a:gd name="connsiteY15" fmla="*/ 559443 h 6858000"/>
              <a:gd name="connsiteX16" fmla="*/ 1 w 12192000"/>
              <a:gd name="connsiteY16" fmla="*/ 567248 h 6858000"/>
              <a:gd name="connsiteX17" fmla="*/ 1 w 12192000"/>
              <a:gd name="connsiteY17" fmla="*/ 587439 h 6858000"/>
              <a:gd name="connsiteX18" fmla="*/ 1 w 12192000"/>
              <a:gd name="connsiteY18" fmla="*/ 592783 h 6858000"/>
              <a:gd name="connsiteX19" fmla="*/ 1 w 12192000"/>
              <a:gd name="connsiteY19" fmla="*/ 612414 h 6858000"/>
              <a:gd name="connsiteX20" fmla="*/ 1 w 12192000"/>
              <a:gd name="connsiteY20" fmla="*/ 632604 h 6858000"/>
              <a:gd name="connsiteX21" fmla="*/ 1 w 12192000"/>
              <a:gd name="connsiteY21" fmla="*/ 637948 h 6858000"/>
              <a:gd name="connsiteX22" fmla="*/ 1 w 12192000"/>
              <a:gd name="connsiteY22" fmla="*/ 656147 h 6858000"/>
              <a:gd name="connsiteX23" fmla="*/ 1 w 12192000"/>
              <a:gd name="connsiteY23" fmla="*/ 676337 h 6858000"/>
              <a:gd name="connsiteX24" fmla="*/ 1 w 12192000"/>
              <a:gd name="connsiteY24" fmla="*/ 681681 h 6858000"/>
              <a:gd name="connsiteX25" fmla="*/ 1 w 12192000"/>
              <a:gd name="connsiteY25" fmla="*/ 744823 h 6858000"/>
              <a:gd name="connsiteX26" fmla="*/ 1 w 12192000"/>
              <a:gd name="connsiteY26" fmla="*/ 744923 h 6858000"/>
              <a:gd name="connsiteX27" fmla="*/ 1 w 12192000"/>
              <a:gd name="connsiteY27" fmla="*/ 788556 h 6858000"/>
              <a:gd name="connsiteX28" fmla="*/ 1 w 12192000"/>
              <a:gd name="connsiteY28" fmla="*/ 788656 h 6858000"/>
              <a:gd name="connsiteX29" fmla="*/ 1 w 12192000"/>
              <a:gd name="connsiteY29" fmla="*/ 806425 h 6858000"/>
              <a:gd name="connsiteX30" fmla="*/ 1 w 12192000"/>
              <a:gd name="connsiteY30" fmla="*/ 826616 h 6858000"/>
              <a:gd name="connsiteX31" fmla="*/ 1 w 12192000"/>
              <a:gd name="connsiteY31" fmla="*/ 833721 h 6858000"/>
              <a:gd name="connsiteX32" fmla="*/ 1 w 12192000"/>
              <a:gd name="connsiteY32" fmla="*/ 833821 h 6858000"/>
              <a:gd name="connsiteX33" fmla="*/ 1 w 12192000"/>
              <a:gd name="connsiteY33" fmla="*/ 850158 h 6858000"/>
              <a:gd name="connsiteX34" fmla="*/ 1 w 12192000"/>
              <a:gd name="connsiteY34" fmla="*/ 867061 h 6858000"/>
              <a:gd name="connsiteX35" fmla="*/ 1 w 12192000"/>
              <a:gd name="connsiteY35" fmla="*/ 867160 h 6858000"/>
              <a:gd name="connsiteX36" fmla="*/ 1 w 12192000"/>
              <a:gd name="connsiteY36" fmla="*/ 870349 h 6858000"/>
              <a:gd name="connsiteX37" fmla="*/ 1 w 12192000"/>
              <a:gd name="connsiteY37" fmla="*/ 877454 h 6858000"/>
              <a:gd name="connsiteX38" fmla="*/ 1 w 12192000"/>
              <a:gd name="connsiteY38" fmla="*/ 877554 h 6858000"/>
              <a:gd name="connsiteX39" fmla="*/ 1 w 12192000"/>
              <a:gd name="connsiteY39" fmla="*/ 895324 h 6858000"/>
              <a:gd name="connsiteX40" fmla="*/ 1 w 12192000"/>
              <a:gd name="connsiteY40" fmla="*/ 910794 h 6858000"/>
              <a:gd name="connsiteX41" fmla="*/ 1 w 12192000"/>
              <a:gd name="connsiteY41" fmla="*/ 910893 h 6858000"/>
              <a:gd name="connsiteX42" fmla="*/ 1 w 12192000"/>
              <a:gd name="connsiteY42" fmla="*/ 915514 h 6858000"/>
              <a:gd name="connsiteX43" fmla="*/ 1 w 12192000"/>
              <a:gd name="connsiteY43" fmla="*/ 928663 h 6858000"/>
              <a:gd name="connsiteX44" fmla="*/ 1 w 12192000"/>
              <a:gd name="connsiteY44" fmla="*/ 939057 h 6858000"/>
              <a:gd name="connsiteX45" fmla="*/ 1 w 12192000"/>
              <a:gd name="connsiteY45" fmla="*/ 948854 h 6858000"/>
              <a:gd name="connsiteX46" fmla="*/ 1 w 12192000"/>
              <a:gd name="connsiteY46" fmla="*/ 955959 h 6858000"/>
              <a:gd name="connsiteX47" fmla="*/ 1 w 12192000"/>
              <a:gd name="connsiteY47" fmla="*/ 956059 h 6858000"/>
              <a:gd name="connsiteX48" fmla="*/ 1 w 12192000"/>
              <a:gd name="connsiteY48" fmla="*/ 959247 h 6858000"/>
              <a:gd name="connsiteX49" fmla="*/ 1 w 12192000"/>
              <a:gd name="connsiteY49" fmla="*/ 972396 h 6858000"/>
              <a:gd name="connsiteX50" fmla="*/ 1 w 12192000"/>
              <a:gd name="connsiteY50" fmla="*/ 992587 h 6858000"/>
              <a:gd name="connsiteX51" fmla="*/ 1 w 12192000"/>
              <a:gd name="connsiteY51" fmla="*/ 999692 h 6858000"/>
              <a:gd name="connsiteX52" fmla="*/ 1 w 12192000"/>
              <a:gd name="connsiteY52" fmla="*/ 999792 h 6858000"/>
              <a:gd name="connsiteX53" fmla="*/ 1 w 12192000"/>
              <a:gd name="connsiteY53" fmla="*/ 1017561 h 6858000"/>
              <a:gd name="connsiteX54" fmla="*/ 1 w 12192000"/>
              <a:gd name="connsiteY54" fmla="*/ 1037752 h 6858000"/>
              <a:gd name="connsiteX55" fmla="*/ 1 w 12192000"/>
              <a:gd name="connsiteY55" fmla="*/ 1061294 h 6858000"/>
              <a:gd name="connsiteX56" fmla="*/ 1 w 12192000"/>
              <a:gd name="connsiteY56" fmla="*/ 1081485 h 6858000"/>
              <a:gd name="connsiteX57" fmla="*/ 661991 w 12192000"/>
              <a:gd name="connsiteY57" fmla="*/ 1010042 h 6858000"/>
              <a:gd name="connsiteX58" fmla="*/ 661991 w 12192000"/>
              <a:gd name="connsiteY58" fmla="*/ 999792 h 6858000"/>
              <a:gd name="connsiteX59" fmla="*/ 661991 w 12192000"/>
              <a:gd name="connsiteY59" fmla="*/ 999692 h 6858000"/>
              <a:gd name="connsiteX60" fmla="*/ 661991 w 12192000"/>
              <a:gd name="connsiteY60" fmla="*/ 989851 h 6858000"/>
              <a:gd name="connsiteX61" fmla="*/ 661991 w 12192000"/>
              <a:gd name="connsiteY61" fmla="*/ 976580 h 6858000"/>
              <a:gd name="connsiteX62" fmla="*/ 661991 w 12192000"/>
              <a:gd name="connsiteY62" fmla="*/ 966309 h 6858000"/>
              <a:gd name="connsiteX63" fmla="*/ 661991 w 12192000"/>
              <a:gd name="connsiteY63" fmla="*/ 956059 h 6858000"/>
              <a:gd name="connsiteX64" fmla="*/ 661991 w 12192000"/>
              <a:gd name="connsiteY64" fmla="*/ 955959 h 6858000"/>
              <a:gd name="connsiteX65" fmla="*/ 661991 w 12192000"/>
              <a:gd name="connsiteY65" fmla="*/ 946118 h 6858000"/>
              <a:gd name="connsiteX66" fmla="*/ 661991 w 12192000"/>
              <a:gd name="connsiteY66" fmla="*/ 932847 h 6858000"/>
              <a:gd name="connsiteX67" fmla="*/ 661991 w 12192000"/>
              <a:gd name="connsiteY67" fmla="*/ 921144 h 6858000"/>
              <a:gd name="connsiteX68" fmla="*/ 661991 w 12192000"/>
              <a:gd name="connsiteY68" fmla="*/ 915078 h 6858000"/>
              <a:gd name="connsiteX69" fmla="*/ 661991 w 12192000"/>
              <a:gd name="connsiteY69" fmla="*/ 910893 h 6858000"/>
              <a:gd name="connsiteX70" fmla="*/ 661991 w 12192000"/>
              <a:gd name="connsiteY70" fmla="*/ 910794 h 6858000"/>
              <a:gd name="connsiteX71" fmla="*/ 661991 w 12192000"/>
              <a:gd name="connsiteY71" fmla="*/ 900953 h 6858000"/>
              <a:gd name="connsiteX72" fmla="*/ 661991 w 12192000"/>
              <a:gd name="connsiteY72" fmla="*/ 894886 h 6858000"/>
              <a:gd name="connsiteX73" fmla="*/ 661991 w 12192000"/>
              <a:gd name="connsiteY73" fmla="*/ 887805 h 6858000"/>
              <a:gd name="connsiteX74" fmla="*/ 661991 w 12192000"/>
              <a:gd name="connsiteY74" fmla="*/ 887681 h 6858000"/>
              <a:gd name="connsiteX75" fmla="*/ 661991 w 12192000"/>
              <a:gd name="connsiteY75" fmla="*/ 877554 h 6858000"/>
              <a:gd name="connsiteX76" fmla="*/ 661991 w 12192000"/>
              <a:gd name="connsiteY76" fmla="*/ 877454 h 6858000"/>
              <a:gd name="connsiteX77" fmla="*/ 661991 w 12192000"/>
              <a:gd name="connsiteY77" fmla="*/ 877411 h 6858000"/>
              <a:gd name="connsiteX78" fmla="*/ 661991 w 12192000"/>
              <a:gd name="connsiteY78" fmla="*/ 871345 h 6858000"/>
              <a:gd name="connsiteX79" fmla="*/ 661991 w 12192000"/>
              <a:gd name="connsiteY79" fmla="*/ 867613 h 6858000"/>
              <a:gd name="connsiteX80" fmla="*/ 661991 w 12192000"/>
              <a:gd name="connsiteY80" fmla="*/ 867160 h 6858000"/>
              <a:gd name="connsiteX81" fmla="*/ 661991 w 12192000"/>
              <a:gd name="connsiteY81" fmla="*/ 867061 h 6858000"/>
              <a:gd name="connsiteX82" fmla="*/ 661991 w 12192000"/>
              <a:gd name="connsiteY82" fmla="*/ 857220 h 6858000"/>
              <a:gd name="connsiteX83" fmla="*/ 661991 w 12192000"/>
              <a:gd name="connsiteY83" fmla="*/ 854342 h 6858000"/>
              <a:gd name="connsiteX84" fmla="*/ 661991 w 12192000"/>
              <a:gd name="connsiteY84" fmla="*/ 851153 h 6858000"/>
              <a:gd name="connsiteX85" fmla="*/ 661991 w 12192000"/>
              <a:gd name="connsiteY85" fmla="*/ 844072 h 6858000"/>
              <a:gd name="connsiteX86" fmla="*/ 661991 w 12192000"/>
              <a:gd name="connsiteY86" fmla="*/ 843948 h 6858000"/>
              <a:gd name="connsiteX87" fmla="*/ 661991 w 12192000"/>
              <a:gd name="connsiteY87" fmla="*/ 833821 h 6858000"/>
              <a:gd name="connsiteX88" fmla="*/ 661991 w 12192000"/>
              <a:gd name="connsiteY88" fmla="*/ 833721 h 6858000"/>
              <a:gd name="connsiteX89" fmla="*/ 661991 w 12192000"/>
              <a:gd name="connsiteY89" fmla="*/ 826180 h 6858000"/>
              <a:gd name="connsiteX90" fmla="*/ 661991 w 12192000"/>
              <a:gd name="connsiteY90" fmla="*/ 823880 h 6858000"/>
              <a:gd name="connsiteX91" fmla="*/ 661991 w 12192000"/>
              <a:gd name="connsiteY91" fmla="*/ 810609 h 6858000"/>
              <a:gd name="connsiteX92" fmla="*/ 661991 w 12192000"/>
              <a:gd name="connsiteY92" fmla="*/ 805988 h 6858000"/>
              <a:gd name="connsiteX93" fmla="*/ 661991 w 12192000"/>
              <a:gd name="connsiteY93" fmla="*/ 798906 h 6858000"/>
              <a:gd name="connsiteX94" fmla="*/ 661991 w 12192000"/>
              <a:gd name="connsiteY94" fmla="*/ 792840 h 6858000"/>
              <a:gd name="connsiteX95" fmla="*/ 661991 w 12192000"/>
              <a:gd name="connsiteY95" fmla="*/ 788656 h 6858000"/>
              <a:gd name="connsiteX96" fmla="*/ 661991 w 12192000"/>
              <a:gd name="connsiteY96" fmla="*/ 788556 h 6858000"/>
              <a:gd name="connsiteX97" fmla="*/ 661991 w 12192000"/>
              <a:gd name="connsiteY97" fmla="*/ 782447 h 6858000"/>
              <a:gd name="connsiteX98" fmla="*/ 661991 w 12192000"/>
              <a:gd name="connsiteY98" fmla="*/ 778715 h 6858000"/>
              <a:gd name="connsiteX99" fmla="*/ 661991 w 12192000"/>
              <a:gd name="connsiteY99" fmla="*/ 772649 h 6858000"/>
              <a:gd name="connsiteX100" fmla="*/ 661991 w 12192000"/>
              <a:gd name="connsiteY100" fmla="*/ 765444 h 6858000"/>
              <a:gd name="connsiteX101" fmla="*/ 661991 w 12192000"/>
              <a:gd name="connsiteY101" fmla="*/ 762255 h 6858000"/>
              <a:gd name="connsiteX102" fmla="*/ 661991 w 12192000"/>
              <a:gd name="connsiteY102" fmla="*/ 755173 h 6858000"/>
              <a:gd name="connsiteX103" fmla="*/ 661991 w 12192000"/>
              <a:gd name="connsiteY103" fmla="*/ 749107 h 6858000"/>
              <a:gd name="connsiteX104" fmla="*/ 661991 w 12192000"/>
              <a:gd name="connsiteY104" fmla="*/ 744923 h 6858000"/>
              <a:gd name="connsiteX105" fmla="*/ 661991 w 12192000"/>
              <a:gd name="connsiteY105" fmla="*/ 744823 h 6858000"/>
              <a:gd name="connsiteX106" fmla="*/ 661991 w 12192000"/>
              <a:gd name="connsiteY106" fmla="*/ 734982 h 6858000"/>
              <a:gd name="connsiteX107" fmla="*/ 661991 w 12192000"/>
              <a:gd name="connsiteY107" fmla="*/ 728916 h 6858000"/>
              <a:gd name="connsiteX108" fmla="*/ 661991 w 12192000"/>
              <a:gd name="connsiteY108" fmla="*/ 721711 h 6858000"/>
              <a:gd name="connsiteX109" fmla="*/ 661991 w 12192000"/>
              <a:gd name="connsiteY109" fmla="*/ 703942 h 6858000"/>
              <a:gd name="connsiteX110" fmla="*/ 661991 w 12192000"/>
              <a:gd name="connsiteY110" fmla="*/ 689608 h 6858000"/>
              <a:gd name="connsiteX111" fmla="*/ 661991 w 12192000"/>
              <a:gd name="connsiteY111" fmla="*/ 683750 h 6858000"/>
              <a:gd name="connsiteX112" fmla="*/ 661991 w 12192000"/>
              <a:gd name="connsiteY112" fmla="*/ 681681 h 6858000"/>
              <a:gd name="connsiteX113" fmla="*/ 661991 w 12192000"/>
              <a:gd name="connsiteY113" fmla="*/ 660209 h 6858000"/>
              <a:gd name="connsiteX114" fmla="*/ 661991 w 12192000"/>
              <a:gd name="connsiteY114" fmla="*/ 645875 h 6858000"/>
              <a:gd name="connsiteX115" fmla="*/ 661991 w 12192000"/>
              <a:gd name="connsiteY115" fmla="*/ 640017 h 6858000"/>
              <a:gd name="connsiteX116" fmla="*/ 661991 w 12192000"/>
              <a:gd name="connsiteY116" fmla="*/ 637948 h 6858000"/>
              <a:gd name="connsiteX117" fmla="*/ 661991 w 12192000"/>
              <a:gd name="connsiteY117" fmla="*/ 604895 h 6858000"/>
              <a:gd name="connsiteX118" fmla="*/ 661991 w 12192000"/>
              <a:gd name="connsiteY118" fmla="*/ 600710 h 6858000"/>
              <a:gd name="connsiteX119" fmla="*/ 661991 w 12192000"/>
              <a:gd name="connsiteY119" fmla="*/ 592783 h 6858000"/>
              <a:gd name="connsiteX120" fmla="*/ 661991 w 12192000"/>
              <a:gd name="connsiteY120" fmla="*/ 584703 h 6858000"/>
              <a:gd name="connsiteX121" fmla="*/ 661991 w 12192000"/>
              <a:gd name="connsiteY121" fmla="*/ 567371 h 6858000"/>
              <a:gd name="connsiteX122" fmla="*/ 661991 w 12192000"/>
              <a:gd name="connsiteY122" fmla="*/ 561162 h 6858000"/>
              <a:gd name="connsiteX123" fmla="*/ 661991 w 12192000"/>
              <a:gd name="connsiteY123" fmla="*/ 559443 h 6858000"/>
              <a:gd name="connsiteX124" fmla="*/ 661991 w 12192000"/>
              <a:gd name="connsiteY124" fmla="*/ 556977 h 6858000"/>
              <a:gd name="connsiteX125" fmla="*/ 661991 w 12192000"/>
              <a:gd name="connsiteY125" fmla="*/ 549050 h 6858000"/>
              <a:gd name="connsiteX126" fmla="*/ 661991 w 12192000"/>
              <a:gd name="connsiteY126" fmla="*/ 540970 h 6858000"/>
              <a:gd name="connsiteX127" fmla="*/ 661991 w 12192000"/>
              <a:gd name="connsiteY127" fmla="*/ 523638 h 6858000"/>
              <a:gd name="connsiteX128" fmla="*/ 661991 w 12192000"/>
              <a:gd name="connsiteY128" fmla="*/ 515996 h 6858000"/>
              <a:gd name="connsiteX129" fmla="*/ 661991 w 12192000"/>
              <a:gd name="connsiteY129" fmla="*/ 515710 h 6858000"/>
              <a:gd name="connsiteX130" fmla="*/ 661991 w 12192000"/>
              <a:gd name="connsiteY130" fmla="*/ 495805 h 6858000"/>
              <a:gd name="connsiteX131" fmla="*/ 661991 w 12192000"/>
              <a:gd name="connsiteY131" fmla="*/ 482657 h 6858000"/>
              <a:gd name="connsiteX132" fmla="*/ 661991 w 12192000"/>
              <a:gd name="connsiteY132" fmla="*/ 478472 h 6858000"/>
              <a:gd name="connsiteX133" fmla="*/ 661991 w 12192000"/>
              <a:gd name="connsiteY133" fmla="*/ 472263 h 6858000"/>
              <a:gd name="connsiteX134" fmla="*/ 661991 w 12192000"/>
              <a:gd name="connsiteY134" fmla="*/ 470545 h 6858000"/>
              <a:gd name="connsiteX135" fmla="*/ 661991 w 12192000"/>
              <a:gd name="connsiteY135" fmla="*/ 462465 h 6858000"/>
              <a:gd name="connsiteX136" fmla="*/ 661991 w 12192000"/>
              <a:gd name="connsiteY136" fmla="*/ 452072 h 6858000"/>
              <a:gd name="connsiteX137" fmla="*/ 661991 w 12192000"/>
              <a:gd name="connsiteY137" fmla="*/ 438924 h 6858000"/>
              <a:gd name="connsiteX138" fmla="*/ 661991 w 12192000"/>
              <a:gd name="connsiteY138" fmla="*/ 434739 h 6858000"/>
              <a:gd name="connsiteX139" fmla="*/ 661991 w 12192000"/>
              <a:gd name="connsiteY139" fmla="*/ 426812 h 6858000"/>
              <a:gd name="connsiteX140" fmla="*/ 661991 w 12192000"/>
              <a:gd name="connsiteY140" fmla="*/ 418732 h 6858000"/>
              <a:gd name="connsiteX141" fmla="*/ 661991 w 12192000"/>
              <a:gd name="connsiteY141" fmla="*/ 393759 h 6858000"/>
              <a:gd name="connsiteX142" fmla="*/ 661991 w 12192000"/>
              <a:gd name="connsiteY142" fmla="*/ 373567 h 6858000"/>
              <a:gd name="connsiteX143" fmla="*/ 661991 w 12192000"/>
              <a:gd name="connsiteY143" fmla="*/ 350026 h 6858000"/>
              <a:gd name="connsiteX144" fmla="*/ 0 w 12192000"/>
              <a:gd name="connsiteY144" fmla="*/ 0 h 6858000"/>
              <a:gd name="connsiteX145" fmla="*/ 12192000 w 12192000"/>
              <a:gd name="connsiteY145" fmla="*/ 0 h 6858000"/>
              <a:gd name="connsiteX146" fmla="*/ 12192000 w 12192000"/>
              <a:gd name="connsiteY146" fmla="*/ 6858000 h 6858000"/>
              <a:gd name="connsiteX147" fmla="*/ 0 w 12192000"/>
              <a:gd name="connsiteY14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12192000" h="6858000">
                <a:moveTo>
                  <a:pt x="661991" y="339114"/>
                </a:moveTo>
                <a:lnTo>
                  <a:pt x="1" y="410557"/>
                </a:lnTo>
                <a:lnTo>
                  <a:pt x="1" y="421468"/>
                </a:lnTo>
                <a:lnTo>
                  <a:pt x="1" y="426812"/>
                </a:lnTo>
                <a:lnTo>
                  <a:pt x="1" y="445011"/>
                </a:lnTo>
                <a:lnTo>
                  <a:pt x="1" y="465201"/>
                </a:lnTo>
                <a:lnTo>
                  <a:pt x="1" y="470545"/>
                </a:lnTo>
                <a:lnTo>
                  <a:pt x="1" y="490176"/>
                </a:lnTo>
                <a:lnTo>
                  <a:pt x="1" y="510367"/>
                </a:lnTo>
                <a:lnTo>
                  <a:pt x="1" y="515710"/>
                </a:lnTo>
                <a:lnTo>
                  <a:pt x="1" y="523515"/>
                </a:lnTo>
                <a:lnTo>
                  <a:pt x="1" y="533909"/>
                </a:lnTo>
                <a:lnTo>
                  <a:pt x="1" y="543706"/>
                </a:lnTo>
                <a:lnTo>
                  <a:pt x="1" y="549050"/>
                </a:lnTo>
                <a:lnTo>
                  <a:pt x="1" y="554100"/>
                </a:lnTo>
                <a:lnTo>
                  <a:pt x="1" y="559443"/>
                </a:lnTo>
                <a:lnTo>
                  <a:pt x="1" y="567248"/>
                </a:lnTo>
                <a:lnTo>
                  <a:pt x="1" y="587439"/>
                </a:lnTo>
                <a:lnTo>
                  <a:pt x="1" y="592783"/>
                </a:lnTo>
                <a:lnTo>
                  <a:pt x="1" y="612414"/>
                </a:lnTo>
                <a:lnTo>
                  <a:pt x="1" y="632604"/>
                </a:lnTo>
                <a:lnTo>
                  <a:pt x="1" y="637948"/>
                </a:lnTo>
                <a:lnTo>
                  <a:pt x="1" y="656147"/>
                </a:lnTo>
                <a:lnTo>
                  <a:pt x="1" y="676337"/>
                </a:lnTo>
                <a:lnTo>
                  <a:pt x="1" y="681681"/>
                </a:lnTo>
                <a:lnTo>
                  <a:pt x="1" y="744823"/>
                </a:lnTo>
                <a:lnTo>
                  <a:pt x="1" y="744923"/>
                </a:lnTo>
                <a:lnTo>
                  <a:pt x="1" y="788556"/>
                </a:lnTo>
                <a:lnTo>
                  <a:pt x="1" y="788656"/>
                </a:lnTo>
                <a:lnTo>
                  <a:pt x="1" y="806425"/>
                </a:lnTo>
                <a:lnTo>
                  <a:pt x="1" y="826616"/>
                </a:lnTo>
                <a:lnTo>
                  <a:pt x="1" y="833721"/>
                </a:lnTo>
                <a:lnTo>
                  <a:pt x="1" y="833821"/>
                </a:lnTo>
                <a:lnTo>
                  <a:pt x="1" y="850158"/>
                </a:lnTo>
                <a:lnTo>
                  <a:pt x="1" y="867061"/>
                </a:lnTo>
                <a:lnTo>
                  <a:pt x="1" y="867160"/>
                </a:lnTo>
                <a:lnTo>
                  <a:pt x="1" y="870349"/>
                </a:lnTo>
                <a:lnTo>
                  <a:pt x="1" y="877454"/>
                </a:lnTo>
                <a:lnTo>
                  <a:pt x="1" y="877554"/>
                </a:lnTo>
                <a:lnTo>
                  <a:pt x="1" y="895324"/>
                </a:lnTo>
                <a:lnTo>
                  <a:pt x="1" y="910794"/>
                </a:lnTo>
                <a:lnTo>
                  <a:pt x="1" y="910893"/>
                </a:lnTo>
                <a:lnTo>
                  <a:pt x="1" y="915514"/>
                </a:lnTo>
                <a:lnTo>
                  <a:pt x="1" y="928663"/>
                </a:lnTo>
                <a:lnTo>
                  <a:pt x="1" y="939057"/>
                </a:lnTo>
                <a:lnTo>
                  <a:pt x="1" y="948854"/>
                </a:lnTo>
                <a:lnTo>
                  <a:pt x="1" y="955959"/>
                </a:lnTo>
                <a:lnTo>
                  <a:pt x="1" y="956059"/>
                </a:lnTo>
                <a:lnTo>
                  <a:pt x="1" y="959247"/>
                </a:lnTo>
                <a:lnTo>
                  <a:pt x="1" y="972396"/>
                </a:lnTo>
                <a:lnTo>
                  <a:pt x="1" y="992587"/>
                </a:lnTo>
                <a:lnTo>
                  <a:pt x="1" y="999692"/>
                </a:lnTo>
                <a:lnTo>
                  <a:pt x="1" y="999792"/>
                </a:lnTo>
                <a:lnTo>
                  <a:pt x="1" y="1017561"/>
                </a:lnTo>
                <a:lnTo>
                  <a:pt x="1" y="1037752"/>
                </a:lnTo>
                <a:lnTo>
                  <a:pt x="1" y="1061294"/>
                </a:lnTo>
                <a:lnTo>
                  <a:pt x="1" y="1081485"/>
                </a:lnTo>
                <a:lnTo>
                  <a:pt x="661991" y="1010042"/>
                </a:lnTo>
                <a:lnTo>
                  <a:pt x="661991" y="999792"/>
                </a:lnTo>
                <a:lnTo>
                  <a:pt x="661991" y="999692"/>
                </a:lnTo>
                <a:lnTo>
                  <a:pt x="661991" y="989851"/>
                </a:lnTo>
                <a:lnTo>
                  <a:pt x="661991" y="976580"/>
                </a:lnTo>
                <a:lnTo>
                  <a:pt x="661991" y="966309"/>
                </a:lnTo>
                <a:lnTo>
                  <a:pt x="661991" y="956059"/>
                </a:lnTo>
                <a:lnTo>
                  <a:pt x="661991" y="955959"/>
                </a:lnTo>
                <a:lnTo>
                  <a:pt x="661991" y="946118"/>
                </a:lnTo>
                <a:lnTo>
                  <a:pt x="661991" y="932847"/>
                </a:lnTo>
                <a:lnTo>
                  <a:pt x="661991" y="921144"/>
                </a:lnTo>
                <a:lnTo>
                  <a:pt x="661991" y="915078"/>
                </a:lnTo>
                <a:lnTo>
                  <a:pt x="661991" y="910893"/>
                </a:lnTo>
                <a:lnTo>
                  <a:pt x="661991" y="910794"/>
                </a:lnTo>
                <a:lnTo>
                  <a:pt x="661991" y="900953"/>
                </a:lnTo>
                <a:lnTo>
                  <a:pt x="661991" y="894886"/>
                </a:lnTo>
                <a:lnTo>
                  <a:pt x="661991" y="887805"/>
                </a:lnTo>
                <a:lnTo>
                  <a:pt x="661991" y="887681"/>
                </a:lnTo>
                <a:lnTo>
                  <a:pt x="661991" y="877554"/>
                </a:lnTo>
                <a:lnTo>
                  <a:pt x="661991" y="877454"/>
                </a:lnTo>
                <a:lnTo>
                  <a:pt x="661991" y="877411"/>
                </a:lnTo>
                <a:lnTo>
                  <a:pt x="661991" y="871345"/>
                </a:lnTo>
                <a:lnTo>
                  <a:pt x="661991" y="867613"/>
                </a:lnTo>
                <a:lnTo>
                  <a:pt x="661991" y="867160"/>
                </a:lnTo>
                <a:lnTo>
                  <a:pt x="661991" y="867061"/>
                </a:lnTo>
                <a:lnTo>
                  <a:pt x="661991" y="857220"/>
                </a:lnTo>
                <a:lnTo>
                  <a:pt x="661991" y="854342"/>
                </a:lnTo>
                <a:lnTo>
                  <a:pt x="661991" y="851153"/>
                </a:lnTo>
                <a:lnTo>
                  <a:pt x="661991" y="844072"/>
                </a:lnTo>
                <a:lnTo>
                  <a:pt x="661991" y="843948"/>
                </a:lnTo>
                <a:lnTo>
                  <a:pt x="661991" y="833821"/>
                </a:lnTo>
                <a:lnTo>
                  <a:pt x="661991" y="833721"/>
                </a:lnTo>
                <a:lnTo>
                  <a:pt x="661991" y="826180"/>
                </a:lnTo>
                <a:lnTo>
                  <a:pt x="661991" y="823880"/>
                </a:lnTo>
                <a:lnTo>
                  <a:pt x="661991" y="810609"/>
                </a:lnTo>
                <a:lnTo>
                  <a:pt x="661991" y="805988"/>
                </a:lnTo>
                <a:lnTo>
                  <a:pt x="661991" y="798906"/>
                </a:lnTo>
                <a:lnTo>
                  <a:pt x="661991" y="792840"/>
                </a:lnTo>
                <a:lnTo>
                  <a:pt x="661991" y="788656"/>
                </a:lnTo>
                <a:lnTo>
                  <a:pt x="661991" y="788556"/>
                </a:lnTo>
                <a:lnTo>
                  <a:pt x="661991" y="782447"/>
                </a:lnTo>
                <a:lnTo>
                  <a:pt x="661991" y="778715"/>
                </a:lnTo>
                <a:lnTo>
                  <a:pt x="661991" y="772649"/>
                </a:lnTo>
                <a:lnTo>
                  <a:pt x="661991" y="765444"/>
                </a:lnTo>
                <a:lnTo>
                  <a:pt x="661991" y="762255"/>
                </a:lnTo>
                <a:lnTo>
                  <a:pt x="661991" y="755173"/>
                </a:lnTo>
                <a:lnTo>
                  <a:pt x="661991" y="749107"/>
                </a:lnTo>
                <a:lnTo>
                  <a:pt x="661991" y="744923"/>
                </a:lnTo>
                <a:lnTo>
                  <a:pt x="661991" y="744823"/>
                </a:lnTo>
                <a:lnTo>
                  <a:pt x="661991" y="734982"/>
                </a:lnTo>
                <a:lnTo>
                  <a:pt x="661991" y="728916"/>
                </a:lnTo>
                <a:lnTo>
                  <a:pt x="661991" y="721711"/>
                </a:lnTo>
                <a:lnTo>
                  <a:pt x="661991" y="703942"/>
                </a:lnTo>
                <a:lnTo>
                  <a:pt x="661991" y="689608"/>
                </a:lnTo>
                <a:lnTo>
                  <a:pt x="661991" y="683750"/>
                </a:lnTo>
                <a:lnTo>
                  <a:pt x="661991" y="681681"/>
                </a:lnTo>
                <a:lnTo>
                  <a:pt x="661991" y="660209"/>
                </a:lnTo>
                <a:lnTo>
                  <a:pt x="661991" y="645875"/>
                </a:lnTo>
                <a:lnTo>
                  <a:pt x="661991" y="640017"/>
                </a:lnTo>
                <a:lnTo>
                  <a:pt x="661991" y="637948"/>
                </a:lnTo>
                <a:lnTo>
                  <a:pt x="661991" y="604895"/>
                </a:lnTo>
                <a:lnTo>
                  <a:pt x="661991" y="600710"/>
                </a:lnTo>
                <a:lnTo>
                  <a:pt x="661991" y="592783"/>
                </a:lnTo>
                <a:lnTo>
                  <a:pt x="661991" y="584703"/>
                </a:lnTo>
                <a:lnTo>
                  <a:pt x="661991" y="567371"/>
                </a:lnTo>
                <a:lnTo>
                  <a:pt x="661991" y="561162"/>
                </a:lnTo>
                <a:lnTo>
                  <a:pt x="661991" y="559443"/>
                </a:lnTo>
                <a:lnTo>
                  <a:pt x="661991" y="556977"/>
                </a:lnTo>
                <a:lnTo>
                  <a:pt x="661991" y="549050"/>
                </a:lnTo>
                <a:lnTo>
                  <a:pt x="661991" y="540970"/>
                </a:lnTo>
                <a:lnTo>
                  <a:pt x="661991" y="523638"/>
                </a:lnTo>
                <a:lnTo>
                  <a:pt x="661991" y="515996"/>
                </a:lnTo>
                <a:lnTo>
                  <a:pt x="661991" y="515710"/>
                </a:lnTo>
                <a:lnTo>
                  <a:pt x="661991" y="495805"/>
                </a:lnTo>
                <a:lnTo>
                  <a:pt x="661991" y="482657"/>
                </a:lnTo>
                <a:lnTo>
                  <a:pt x="661991" y="478472"/>
                </a:lnTo>
                <a:lnTo>
                  <a:pt x="661991" y="472263"/>
                </a:lnTo>
                <a:lnTo>
                  <a:pt x="661991" y="470545"/>
                </a:lnTo>
                <a:lnTo>
                  <a:pt x="661991" y="462465"/>
                </a:lnTo>
                <a:lnTo>
                  <a:pt x="661991" y="452072"/>
                </a:lnTo>
                <a:lnTo>
                  <a:pt x="661991" y="438924"/>
                </a:lnTo>
                <a:lnTo>
                  <a:pt x="661991" y="434739"/>
                </a:lnTo>
                <a:lnTo>
                  <a:pt x="661991" y="426812"/>
                </a:lnTo>
                <a:lnTo>
                  <a:pt x="661991" y="418732"/>
                </a:lnTo>
                <a:lnTo>
                  <a:pt x="661991" y="393759"/>
                </a:lnTo>
                <a:lnTo>
                  <a:pt x="661991" y="373567"/>
                </a:lnTo>
                <a:lnTo>
                  <a:pt x="661991" y="3500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1" y="3092783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FD461ADA-45A7-4378-B5B9-54CE9BF89A9C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6" name="Freeform 40">
              <a:extLst>
                <a:ext uri="{FF2B5EF4-FFF2-40B4-BE49-F238E27FC236}">
                  <a16:creationId xmlns:a16="http://schemas.microsoft.com/office/drawing/2014/main" id="{1AA0CEEF-19FF-43A0-8966-6DB91FA5A5B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Freeform 41">
              <a:extLst>
                <a:ext uri="{FF2B5EF4-FFF2-40B4-BE49-F238E27FC236}">
                  <a16:creationId xmlns:a16="http://schemas.microsoft.com/office/drawing/2014/main" id="{2D34465F-A7E6-49C4-A2DD-CFD03E807F00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7441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 // Bilplatzhalter mit Text (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409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10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2CD7A7C-6BED-4042-88C8-8ACEEFC464C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742301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  <a:gd name="connsiteX6" fmla="*/ 1 w 12192000"/>
              <a:gd name="connsiteY6" fmla="*/ 1081483 h 6858000"/>
              <a:gd name="connsiteX7" fmla="*/ 1 w 12192000"/>
              <a:gd name="connsiteY7" fmla="*/ 1081485 h 6858000"/>
              <a:gd name="connsiteX8" fmla="*/ 354 w 12192000"/>
              <a:gd name="connsiteY8" fmla="*/ 108144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10742301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lnTo>
                  <a:pt x="1" y="1081483"/>
                </a:lnTo>
                <a:lnTo>
                  <a:pt x="1" y="1081485"/>
                </a:lnTo>
                <a:lnTo>
                  <a:pt x="354" y="1081447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1" y="3092783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5" name="Freihandform: Form 27">
            <a:extLst>
              <a:ext uri="{FF2B5EF4-FFF2-40B4-BE49-F238E27FC236}">
                <a16:creationId xmlns:a16="http://schemas.microsoft.com/office/drawing/2014/main" id="{0C357E27-A970-4422-8105-7EAD4D7908AF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6" name="Freihandform: Form 7">
            <a:extLst>
              <a:ext uri="{FF2B5EF4-FFF2-40B4-BE49-F238E27FC236}">
                <a16:creationId xmlns:a16="http://schemas.microsoft.com/office/drawing/2014/main" id="{7957DB2B-F4FD-4807-890C-1D5FB9FEA0BE}"/>
              </a:ext>
            </a:extLst>
          </p:cNvPr>
          <p:cNvSpPr/>
          <p:nvPr userDrawn="1"/>
        </p:nvSpPr>
        <p:spPr>
          <a:xfrm>
            <a:off x="5621103" y="6223370"/>
            <a:ext cx="6570897" cy="634630"/>
          </a:xfrm>
          <a:custGeom>
            <a:avLst/>
            <a:gdLst>
              <a:gd name="connsiteX0" fmla="*/ 6570897 w 6570897"/>
              <a:gd name="connsiteY0" fmla="*/ 0 h 634630"/>
              <a:gd name="connsiteX1" fmla="*/ 6570897 w 6570897"/>
              <a:gd name="connsiteY1" fmla="*/ 634630 h 634630"/>
              <a:gd name="connsiteX2" fmla="*/ 0 w 6570897"/>
              <a:gd name="connsiteY2" fmla="*/ 634630 h 63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70897" h="634630">
                <a:moveTo>
                  <a:pt x="6570897" y="0"/>
                </a:moveTo>
                <a:lnTo>
                  <a:pt x="6570897" y="634630"/>
                </a:lnTo>
                <a:lnTo>
                  <a:pt x="0" y="634630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algn="l">
              <a:spcAft>
                <a:spcPts val="1200"/>
              </a:spcAft>
            </a:pPr>
            <a:endParaRPr lang="de-DE" sz="1400" kern="600" spc="0" baseline="0" dirty="0"/>
          </a:p>
        </p:txBody>
      </p:sp>
      <p:grpSp>
        <p:nvGrpSpPr>
          <p:cNvPr id="7" name="Group 13">
            <a:extLst>
              <a:ext uri="{FF2B5EF4-FFF2-40B4-BE49-F238E27FC236}">
                <a16:creationId xmlns:a16="http://schemas.microsoft.com/office/drawing/2014/main" id="{15861EDB-1869-475F-836A-15C14DA44195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8" name="Freeform 40">
              <a:extLst>
                <a:ext uri="{FF2B5EF4-FFF2-40B4-BE49-F238E27FC236}">
                  <a16:creationId xmlns:a16="http://schemas.microsoft.com/office/drawing/2014/main" id="{A0E011BF-9B88-49E3-8AA6-B972D7E9F06B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Freeform 41">
              <a:extLst>
                <a:ext uri="{FF2B5EF4-FFF2-40B4-BE49-F238E27FC236}">
                  <a16:creationId xmlns:a16="http://schemas.microsoft.com/office/drawing/2014/main" id="{C6C2628F-067A-4F9F-AB6D-583DE89C8BE1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4801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Nur TItel 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909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41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F9BEDD05-536F-F74A-9F35-0ED4CCA9954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798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250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4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5"/>
            <a:ext cx="10658475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05FA0CE4-5D53-C84B-8B20-1E42F54E1EC2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8C5DB09-5C68-4A51-BB61-6A35A5EA5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64528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2 Texten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82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50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4209D648-2061-5046-99E8-F0032076507F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46CA8B-55FE-4609-B8B1-366C2FDEA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03336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links)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5980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68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1196974"/>
            <a:ext cx="5149849" cy="5256213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634F4E53-68FE-5B4B-AFEA-A9D856AB7EE4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382014B-9E10-4003-A8A5-0A7AE084A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30132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Nur TItel 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617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52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0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7B349B1B-53F0-B14F-9FF7-28103A8A48C0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AF1B2C0-D18A-47DE-998E-0E5C6DB85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11691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385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5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1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5"/>
            <a:ext cx="10658475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BA3FB8F9-523F-3F49-BA47-CE86CA467970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16F4FFE-663F-4DB8-AC2E-A5EDBB129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64188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links // Bild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7258EA99-7DAC-3E40-9C09-6999BF263A6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22241" y="0"/>
            <a:ext cx="6969759" cy="6858000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69759" h="6858000">
                <a:moveTo>
                  <a:pt x="0" y="0"/>
                </a:moveTo>
                <a:lnTo>
                  <a:pt x="6969759" y="0"/>
                </a:lnTo>
                <a:lnTo>
                  <a:pt x="6969759" y="6858000"/>
                </a:lnTo>
                <a:lnTo>
                  <a:pt x="508945" y="6858000"/>
                </a:lnTo>
                <a:lnTo>
                  <a:pt x="3706883" y="1"/>
                </a:lnTo>
                <a:lnTo>
                  <a:pt x="833898" y="1"/>
                </a:lnTo>
                <a:lnTo>
                  <a:pt x="833897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2581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828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281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2 Texten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639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57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6"/>
            <a:ext cx="5149850" cy="41006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96E79C0D-9CB3-5241-8E38-AA450520B8C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D5EEE30-6705-44A0-891F-536BF776F2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2982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33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links)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2206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970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E1B4485-1F72-42D7-ACC3-9EDC24543BB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1196974"/>
            <a:ext cx="5149849" cy="4965818"/>
          </a:xfrm>
          <a:custGeom>
            <a:avLst/>
            <a:gdLst>
              <a:gd name="connsiteX0" fmla="*/ 0 w 5149849"/>
              <a:gd name="connsiteY0" fmla="*/ 0 h 4965818"/>
              <a:gd name="connsiteX1" fmla="*/ 5149849 w 5149849"/>
              <a:gd name="connsiteY1" fmla="*/ 0 h 4965818"/>
              <a:gd name="connsiteX2" fmla="*/ 5149849 w 5149849"/>
              <a:gd name="connsiteY2" fmla="*/ 4468436 h 4965818"/>
              <a:gd name="connsiteX3" fmla="*/ 0 w 5149849"/>
              <a:gd name="connsiteY3" fmla="*/ 4965818 h 4965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9849" h="4965818">
                <a:moveTo>
                  <a:pt x="0" y="0"/>
                </a:moveTo>
                <a:lnTo>
                  <a:pt x="5149849" y="0"/>
                </a:lnTo>
                <a:lnTo>
                  <a:pt x="5149849" y="4468436"/>
                </a:lnTo>
                <a:lnTo>
                  <a:pt x="0" y="496581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C13D84C5-27C9-8244-AE4C-B1FF9BA7BDD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4D003A0-D044-4DCD-B55E-66422C600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8045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566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rechts)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28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2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7CB5D3-8679-4C40-98D0-C4A69CB34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6"/>
            <a:ext cx="5149850" cy="44640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1D8CB5B5-C1E3-4EDF-9F8A-AF64BDF363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75389" y="1196975"/>
            <a:ext cx="5149849" cy="4439485"/>
          </a:xfrm>
          <a:custGeom>
            <a:avLst/>
            <a:gdLst>
              <a:gd name="connsiteX0" fmla="*/ 0 w 5149849"/>
              <a:gd name="connsiteY0" fmla="*/ 0 h 4439485"/>
              <a:gd name="connsiteX1" fmla="*/ 5149849 w 5149849"/>
              <a:gd name="connsiteY1" fmla="*/ 0 h 4439485"/>
              <a:gd name="connsiteX2" fmla="*/ 5149849 w 5149849"/>
              <a:gd name="connsiteY2" fmla="*/ 3942103 h 4439485"/>
              <a:gd name="connsiteX3" fmla="*/ 0 w 5149849"/>
              <a:gd name="connsiteY3" fmla="*/ 4439485 h 4439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9849" h="4439485">
                <a:moveTo>
                  <a:pt x="0" y="0"/>
                </a:moveTo>
                <a:lnTo>
                  <a:pt x="5149849" y="0"/>
                </a:lnTo>
                <a:lnTo>
                  <a:pt x="5149849" y="3942103"/>
                </a:lnTo>
                <a:lnTo>
                  <a:pt x="0" y="443948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F5D9D0D2-7EDA-4947-AB3D-52786C15FACA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BB85738-5B86-46A3-A123-248D01111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16910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58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8152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75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1D09B2C-D8C1-41B9-BF6B-D36D9023B68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6"/>
            <a:ext cx="10658475" cy="35488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19927C1F-62FD-0A46-8A61-573819706D54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5AF321D-0B4D-4551-BEC7-9EEC195A0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6536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Nur TItel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0047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46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8BE06C8C-7049-2545-905A-C16E8F70740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F9595B-11B3-4259-84E9-EA0F02B6A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59561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Text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61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48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5"/>
            <a:ext cx="10658475" cy="5256213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6580AE2E-E7A4-8147-9D10-46D4FED9C736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D37B052-2223-4CD4-B48D-85AE3175C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47261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2 Texten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1498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5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95936665-1D34-4541-BAA1-D13E54A42DF7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4BE0294-C1AD-463F-9932-14FF898FD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30921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Nur TItel 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515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62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0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FF28E917-7CDB-B047-85A6-D68875D6D2BB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5D3F80B-02F8-465D-BCDE-DF5E4A68D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15848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Text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4943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64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1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6"/>
            <a:ext cx="10658475" cy="4100650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A9207D9E-A8D2-D441-8F1A-99EA8AC89D59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A46B979-61EF-4DDE-850D-A9C522E48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60312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2 Texten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1195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410033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9EBD5B88-9E28-0843-BBBC-03C3B8F7928B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B3124B4-073E-4AA4-A8AF-077A24B5A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03067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33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links // Bild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7112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0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DA371A-43BB-4A0E-AC24-3821A653A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6475" y="-1"/>
            <a:ext cx="8189789" cy="6858001"/>
          </a:xfrm>
          <a:prstGeom prst="rect">
            <a:avLst/>
          </a:prstGeom>
        </p:spPr>
      </p:pic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88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081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23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C70416A-78D1-4FAA-9263-419E74D1E3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2"/>
            <a:ext cx="5185237" cy="5234188"/>
          </a:xfrm>
          <a:custGeom>
            <a:avLst/>
            <a:gdLst>
              <a:gd name="connsiteX0" fmla="*/ 0 w 5185237"/>
              <a:gd name="connsiteY0" fmla="*/ 0 h 5234188"/>
              <a:gd name="connsiteX1" fmla="*/ 5185237 w 5185237"/>
              <a:gd name="connsiteY1" fmla="*/ 0 h 5234188"/>
              <a:gd name="connsiteX2" fmla="*/ 5185237 w 5185237"/>
              <a:gd name="connsiteY2" fmla="*/ 4735298 h 5234188"/>
              <a:gd name="connsiteX3" fmla="*/ 2431692 w 5185237"/>
              <a:gd name="connsiteY3" fmla="*/ 5000227 h 5234188"/>
              <a:gd name="connsiteX4" fmla="*/ 0 w 5185237"/>
              <a:gd name="connsiteY4" fmla="*/ 5234188 h 5234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5237" h="5234188">
                <a:moveTo>
                  <a:pt x="0" y="0"/>
                </a:moveTo>
                <a:lnTo>
                  <a:pt x="5185237" y="0"/>
                </a:lnTo>
                <a:lnTo>
                  <a:pt x="5185237" y="4735298"/>
                </a:lnTo>
                <a:lnTo>
                  <a:pt x="2431692" y="5000227"/>
                </a:lnTo>
                <a:lnTo>
                  <a:pt x="0" y="523418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504000" rIns="360000" bIns="504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38BFF1B-73CF-4984-9F29-2D30CCD703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000" y="335585"/>
            <a:ext cx="5185236" cy="4707587"/>
          </a:xfrm>
          <a:custGeom>
            <a:avLst/>
            <a:gdLst>
              <a:gd name="connsiteX0" fmla="*/ 0 w 5185236"/>
              <a:gd name="connsiteY0" fmla="*/ 0 h 4707587"/>
              <a:gd name="connsiteX1" fmla="*/ 5185236 w 5185236"/>
              <a:gd name="connsiteY1" fmla="*/ 0 h 4707587"/>
              <a:gd name="connsiteX2" fmla="*/ 5185236 w 5185236"/>
              <a:gd name="connsiteY2" fmla="*/ 4208697 h 4707587"/>
              <a:gd name="connsiteX3" fmla="*/ 0 w 5185236"/>
              <a:gd name="connsiteY3" fmla="*/ 4707587 h 470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236" h="4707587">
                <a:moveTo>
                  <a:pt x="0" y="0"/>
                </a:moveTo>
                <a:lnTo>
                  <a:pt x="5185236" y="0"/>
                </a:lnTo>
                <a:lnTo>
                  <a:pt x="5185236" y="4208697"/>
                </a:lnTo>
                <a:lnTo>
                  <a:pt x="0" y="470758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504000" rIns="360000" bIns="504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26361" y="3558602"/>
            <a:ext cx="2069066" cy="1715020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71443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 userDrawn="1">
          <p15:clr>
            <a:srgbClr val="F26B43"/>
          </p15:clr>
        </p15:guide>
        <p15:guide id="4" pos="3931" userDrawn="1">
          <p15:clr>
            <a:srgbClr val="F26B43"/>
          </p15:clr>
        </p15:guide>
        <p15:guide id="5" orient="horz" pos="754" userDrawn="1">
          <p15:clr>
            <a:srgbClr val="A4A3A4"/>
          </p15:clr>
        </p15:guide>
        <p15:guide id="6" orient="horz" pos="640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0641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3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70195F57-E2B4-4C17-921E-D0505DD50D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3"/>
            <a:ext cx="3349484" cy="5230829"/>
          </a:xfrm>
          <a:custGeom>
            <a:avLst/>
            <a:gdLst>
              <a:gd name="connsiteX0" fmla="*/ 0 w 3349484"/>
              <a:gd name="connsiteY0" fmla="*/ 0 h 5230829"/>
              <a:gd name="connsiteX1" fmla="*/ 3349484 w 3349484"/>
              <a:gd name="connsiteY1" fmla="*/ 0 h 5230829"/>
              <a:gd name="connsiteX2" fmla="*/ 3349484 w 3349484"/>
              <a:gd name="connsiteY2" fmla="*/ 4907329 h 5230829"/>
              <a:gd name="connsiteX3" fmla="*/ 0 w 3349484"/>
              <a:gd name="connsiteY3" fmla="*/ 5230829 h 523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5230829">
                <a:moveTo>
                  <a:pt x="0" y="0"/>
                </a:moveTo>
                <a:lnTo>
                  <a:pt x="3349484" y="0"/>
                </a:lnTo>
                <a:lnTo>
                  <a:pt x="3349484" y="4907329"/>
                </a:lnTo>
                <a:lnTo>
                  <a:pt x="0" y="523082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335583"/>
            <a:ext cx="3384549" cy="4879564"/>
          </a:xfrm>
          <a:custGeom>
            <a:avLst/>
            <a:gdLst>
              <a:gd name="connsiteX0" fmla="*/ 0 w 3384549"/>
              <a:gd name="connsiteY0" fmla="*/ 0 h 4879564"/>
              <a:gd name="connsiteX1" fmla="*/ 3384549 w 3384549"/>
              <a:gd name="connsiteY1" fmla="*/ 0 h 4879564"/>
              <a:gd name="connsiteX2" fmla="*/ 3384549 w 3384549"/>
              <a:gd name="connsiteY2" fmla="*/ 4552678 h 4879564"/>
              <a:gd name="connsiteX3" fmla="*/ 0 w 3384549"/>
              <a:gd name="connsiteY3" fmla="*/ 4879564 h 487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9" h="4879564">
                <a:moveTo>
                  <a:pt x="0" y="0"/>
                </a:moveTo>
                <a:lnTo>
                  <a:pt x="3384549" y="0"/>
                </a:lnTo>
                <a:lnTo>
                  <a:pt x="3384549" y="4552678"/>
                </a:lnTo>
                <a:lnTo>
                  <a:pt x="0" y="48795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B081B6C1-45B0-4E79-BBD7-9988F5587D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335583"/>
            <a:ext cx="3349487" cy="4524912"/>
          </a:xfrm>
          <a:custGeom>
            <a:avLst/>
            <a:gdLst>
              <a:gd name="connsiteX0" fmla="*/ 0 w 3349487"/>
              <a:gd name="connsiteY0" fmla="*/ 0 h 4524912"/>
              <a:gd name="connsiteX1" fmla="*/ 3349487 w 3349487"/>
              <a:gd name="connsiteY1" fmla="*/ 0 h 4524912"/>
              <a:gd name="connsiteX2" fmla="*/ 3349487 w 3349487"/>
              <a:gd name="connsiteY2" fmla="*/ 4201413 h 4524912"/>
              <a:gd name="connsiteX3" fmla="*/ 0 w 3349487"/>
              <a:gd name="connsiteY3" fmla="*/ 4524912 h 452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4524912">
                <a:moveTo>
                  <a:pt x="0" y="0"/>
                </a:moveTo>
                <a:lnTo>
                  <a:pt x="3349487" y="0"/>
                </a:lnTo>
                <a:lnTo>
                  <a:pt x="3349487" y="4201413"/>
                </a:lnTo>
                <a:lnTo>
                  <a:pt x="0" y="452491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FontTx/>
              <a:buBlip>
                <a:blip r:embed="rId8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9381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906" userDrawn="1">
          <p15:clr>
            <a:srgbClr val="F26B43"/>
          </p15:clr>
        </p15:guide>
        <p15:guide id="2" pos="2593" userDrawn="1">
          <p15:clr>
            <a:srgbClr val="F26B43"/>
          </p15:clr>
        </p15:guide>
        <p15:guide id="3" pos="2774" userDrawn="1">
          <p15:clr>
            <a:srgbClr val="F26B43"/>
          </p15:clr>
        </p15:guide>
        <p15:guide id="4" pos="5087" userDrawn="1">
          <p15:clr>
            <a:srgbClr val="F26B43"/>
          </p15:clr>
        </p15:guide>
        <p15:guide id="5" orient="horz" pos="754" userDrawn="1">
          <p15:clr>
            <a:srgbClr val="A4A3A4"/>
          </p15:clr>
        </p15:guide>
        <p15:guide id="6" orient="horz" pos="640" userDrawn="1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e mit Bildplatzhalter (unten) /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025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92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70195F57-E2B4-4C17-921E-D0505DD50D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3"/>
            <a:ext cx="3349484" cy="5230829"/>
          </a:xfrm>
          <a:custGeom>
            <a:avLst/>
            <a:gdLst>
              <a:gd name="connsiteX0" fmla="*/ 0 w 3349484"/>
              <a:gd name="connsiteY0" fmla="*/ 0 h 5230829"/>
              <a:gd name="connsiteX1" fmla="*/ 3349484 w 3349484"/>
              <a:gd name="connsiteY1" fmla="*/ 0 h 5230829"/>
              <a:gd name="connsiteX2" fmla="*/ 3349484 w 3349484"/>
              <a:gd name="connsiteY2" fmla="*/ 4907329 h 5230829"/>
              <a:gd name="connsiteX3" fmla="*/ 0 w 3349484"/>
              <a:gd name="connsiteY3" fmla="*/ 5230829 h 523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5230829">
                <a:moveTo>
                  <a:pt x="0" y="0"/>
                </a:moveTo>
                <a:lnTo>
                  <a:pt x="3349484" y="0"/>
                </a:lnTo>
                <a:lnTo>
                  <a:pt x="3349484" y="4907329"/>
                </a:lnTo>
                <a:lnTo>
                  <a:pt x="0" y="523082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335583"/>
            <a:ext cx="3384549" cy="4879564"/>
          </a:xfrm>
          <a:custGeom>
            <a:avLst/>
            <a:gdLst>
              <a:gd name="connsiteX0" fmla="*/ 0 w 3384549"/>
              <a:gd name="connsiteY0" fmla="*/ 0 h 4879564"/>
              <a:gd name="connsiteX1" fmla="*/ 3384549 w 3384549"/>
              <a:gd name="connsiteY1" fmla="*/ 0 h 4879564"/>
              <a:gd name="connsiteX2" fmla="*/ 3384549 w 3384549"/>
              <a:gd name="connsiteY2" fmla="*/ 4552678 h 4879564"/>
              <a:gd name="connsiteX3" fmla="*/ 0 w 3384549"/>
              <a:gd name="connsiteY3" fmla="*/ 4879564 h 487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9" h="4879564">
                <a:moveTo>
                  <a:pt x="0" y="0"/>
                </a:moveTo>
                <a:lnTo>
                  <a:pt x="3384549" y="0"/>
                </a:lnTo>
                <a:lnTo>
                  <a:pt x="3384549" y="4552678"/>
                </a:lnTo>
                <a:lnTo>
                  <a:pt x="0" y="48795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D934306D-3770-2A4E-A9E7-7D0A21B68A9E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3" name="Text Placeholder 55">
            <a:extLst>
              <a:ext uri="{FF2B5EF4-FFF2-40B4-BE49-F238E27FC236}">
                <a16:creationId xmlns:a16="http://schemas.microsoft.com/office/drawing/2014/main" id="{386C06A8-E4A0-47F2-A0F9-69485B8569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335583"/>
            <a:ext cx="3349487" cy="4524912"/>
          </a:xfrm>
          <a:custGeom>
            <a:avLst/>
            <a:gdLst>
              <a:gd name="connsiteX0" fmla="*/ 0 w 3349487"/>
              <a:gd name="connsiteY0" fmla="*/ 0 h 4524912"/>
              <a:gd name="connsiteX1" fmla="*/ 3349487 w 3349487"/>
              <a:gd name="connsiteY1" fmla="*/ 0 h 4524912"/>
              <a:gd name="connsiteX2" fmla="*/ 3349487 w 3349487"/>
              <a:gd name="connsiteY2" fmla="*/ 4201413 h 4524912"/>
              <a:gd name="connsiteX3" fmla="*/ 0 w 3349487"/>
              <a:gd name="connsiteY3" fmla="*/ 4524912 h 452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4524912">
                <a:moveTo>
                  <a:pt x="0" y="0"/>
                </a:moveTo>
                <a:lnTo>
                  <a:pt x="3349487" y="0"/>
                </a:lnTo>
                <a:lnTo>
                  <a:pt x="3349487" y="4201413"/>
                </a:lnTo>
                <a:lnTo>
                  <a:pt x="0" y="452491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9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65443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906" userDrawn="1">
          <p15:clr>
            <a:srgbClr val="F26B43"/>
          </p15:clr>
        </p15:guide>
        <p15:guide id="2" pos="2593" userDrawn="1">
          <p15:clr>
            <a:srgbClr val="F26B43"/>
          </p15:clr>
        </p15:guide>
        <p15:guide id="3" pos="2774" userDrawn="1">
          <p15:clr>
            <a:srgbClr val="F26B43"/>
          </p15:clr>
        </p15:guide>
        <p15:guide id="4" pos="5087" userDrawn="1">
          <p15:clr>
            <a:srgbClr val="F26B43"/>
          </p15:clr>
        </p15:guide>
        <p15:guide id="5" orient="horz" pos="754" userDrawn="1">
          <p15:clr>
            <a:srgbClr val="A4A3A4"/>
          </p15:clr>
        </p15:guide>
        <p15:guide id="6" orient="horz" pos="640" userDrawn="1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790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26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2AC76D0E-2E74-40A1-90B8-A4BCCDCE6C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4"/>
            <a:ext cx="2448618" cy="5234187"/>
          </a:xfrm>
          <a:custGeom>
            <a:avLst/>
            <a:gdLst>
              <a:gd name="connsiteX0" fmla="*/ 0 w 2448618"/>
              <a:gd name="connsiteY0" fmla="*/ 0 h 5234187"/>
              <a:gd name="connsiteX1" fmla="*/ 2448618 w 2448618"/>
              <a:gd name="connsiteY1" fmla="*/ 0 h 5234187"/>
              <a:gd name="connsiteX2" fmla="*/ 2448618 w 2448618"/>
              <a:gd name="connsiteY2" fmla="*/ 4998597 h 5234187"/>
              <a:gd name="connsiteX3" fmla="*/ 0 w 2448618"/>
              <a:gd name="connsiteY3" fmla="*/ 5234187 h 523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5234187">
                <a:moveTo>
                  <a:pt x="0" y="0"/>
                </a:moveTo>
                <a:lnTo>
                  <a:pt x="2448618" y="0"/>
                </a:lnTo>
                <a:lnTo>
                  <a:pt x="2448618" y="4998597"/>
                </a:lnTo>
                <a:lnTo>
                  <a:pt x="0" y="5234187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699A7C70-A183-4EE4-A764-684D3950B6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03382" y="335585"/>
            <a:ext cx="2448619" cy="4970887"/>
          </a:xfrm>
          <a:custGeom>
            <a:avLst/>
            <a:gdLst>
              <a:gd name="connsiteX0" fmla="*/ 0 w 2448619"/>
              <a:gd name="connsiteY0" fmla="*/ 0 h 4970887"/>
              <a:gd name="connsiteX1" fmla="*/ 2448619 w 2448619"/>
              <a:gd name="connsiteY1" fmla="*/ 0 h 4970887"/>
              <a:gd name="connsiteX2" fmla="*/ 2448619 w 2448619"/>
              <a:gd name="connsiteY2" fmla="*/ 4735296 h 4970887"/>
              <a:gd name="connsiteX3" fmla="*/ 0 w 2448619"/>
              <a:gd name="connsiteY3" fmla="*/ 4970887 h 4970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9" h="4970887">
                <a:moveTo>
                  <a:pt x="0" y="0"/>
                </a:moveTo>
                <a:lnTo>
                  <a:pt x="2448619" y="0"/>
                </a:lnTo>
                <a:lnTo>
                  <a:pt x="2448619" y="4735296"/>
                </a:lnTo>
                <a:lnTo>
                  <a:pt x="0" y="497088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6540" y="3833610"/>
            <a:ext cx="2069066" cy="1715020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71A3D910-AF8D-4A10-93AD-2A155C4B53D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0000" y="335585"/>
            <a:ext cx="2448618" cy="4707587"/>
          </a:xfrm>
          <a:custGeom>
            <a:avLst/>
            <a:gdLst>
              <a:gd name="connsiteX0" fmla="*/ 0 w 2448618"/>
              <a:gd name="connsiteY0" fmla="*/ 0 h 4707587"/>
              <a:gd name="connsiteX1" fmla="*/ 2448618 w 2448618"/>
              <a:gd name="connsiteY1" fmla="*/ 0 h 4707587"/>
              <a:gd name="connsiteX2" fmla="*/ 2448618 w 2448618"/>
              <a:gd name="connsiteY2" fmla="*/ 4471997 h 4707587"/>
              <a:gd name="connsiteX3" fmla="*/ 0 w 2448618"/>
              <a:gd name="connsiteY3" fmla="*/ 4707587 h 470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707587">
                <a:moveTo>
                  <a:pt x="0" y="0"/>
                </a:moveTo>
                <a:lnTo>
                  <a:pt x="2448618" y="0"/>
                </a:lnTo>
                <a:lnTo>
                  <a:pt x="2448618" y="4471997"/>
                </a:lnTo>
                <a:lnTo>
                  <a:pt x="0" y="470758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9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54B18E07-3099-461D-AABB-46E95D25B0C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76618" y="335583"/>
            <a:ext cx="2448618" cy="4444288"/>
          </a:xfrm>
          <a:custGeom>
            <a:avLst/>
            <a:gdLst>
              <a:gd name="connsiteX0" fmla="*/ 0 w 2448618"/>
              <a:gd name="connsiteY0" fmla="*/ 0 h 4444288"/>
              <a:gd name="connsiteX1" fmla="*/ 2448618 w 2448618"/>
              <a:gd name="connsiteY1" fmla="*/ 0 h 4444288"/>
              <a:gd name="connsiteX2" fmla="*/ 2448618 w 2448618"/>
              <a:gd name="connsiteY2" fmla="*/ 4208698 h 4444288"/>
              <a:gd name="connsiteX3" fmla="*/ 0 w 2448618"/>
              <a:gd name="connsiteY3" fmla="*/ 4444288 h 4444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444288">
                <a:moveTo>
                  <a:pt x="0" y="0"/>
                </a:moveTo>
                <a:lnTo>
                  <a:pt x="2448618" y="0"/>
                </a:lnTo>
                <a:lnTo>
                  <a:pt x="2448618" y="4208698"/>
                </a:lnTo>
                <a:lnTo>
                  <a:pt x="0" y="4444288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9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9966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 userDrawn="1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  <p15:guide id="7" pos="5654" userDrawn="1">
          <p15:clr>
            <a:srgbClr val="F26B43"/>
          </p15:clr>
        </p15:guide>
        <p15:guide id="8" pos="5473" userDrawn="1">
          <p15:clr>
            <a:srgbClr val="F26B43"/>
          </p15:clr>
        </p15:guide>
        <p15:guide id="9" pos="2207" userDrawn="1">
          <p15:clr>
            <a:srgbClr val="F26B43"/>
          </p15:clr>
        </p15:guide>
        <p15:guide id="10" pos="2026" userDrawn="1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2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17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274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63C7026-C875-4E69-BA5F-F496B8D31A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44BAB1F-8DA3-4C74-9036-E918CD77B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6"/>
            <a:ext cx="5185238" cy="4372795"/>
          </a:xfrm>
          <a:custGeom>
            <a:avLst/>
            <a:gdLst>
              <a:gd name="connsiteX0" fmla="*/ 0 w 5185238"/>
              <a:gd name="connsiteY0" fmla="*/ 0 h 4372795"/>
              <a:gd name="connsiteX1" fmla="*/ 5185238 w 5185238"/>
              <a:gd name="connsiteY1" fmla="*/ 0 h 4372795"/>
              <a:gd name="connsiteX2" fmla="*/ 5185238 w 5185238"/>
              <a:gd name="connsiteY2" fmla="*/ 3873905 h 4372795"/>
              <a:gd name="connsiteX3" fmla="*/ 2431692 w 5185238"/>
              <a:gd name="connsiteY3" fmla="*/ 4138834 h 4372795"/>
              <a:gd name="connsiteX4" fmla="*/ 0 w 5185238"/>
              <a:gd name="connsiteY4" fmla="*/ 4372795 h 4372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5238" h="4372795">
                <a:moveTo>
                  <a:pt x="0" y="0"/>
                </a:moveTo>
                <a:lnTo>
                  <a:pt x="5185238" y="0"/>
                </a:lnTo>
                <a:lnTo>
                  <a:pt x="5185238" y="3873905"/>
                </a:lnTo>
                <a:lnTo>
                  <a:pt x="2431692" y="4138834"/>
                </a:lnTo>
                <a:lnTo>
                  <a:pt x="0" y="4372795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B6ADC81-7D97-467A-B7E6-238D218159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000" y="1196975"/>
            <a:ext cx="5185236" cy="3846197"/>
          </a:xfrm>
          <a:custGeom>
            <a:avLst/>
            <a:gdLst>
              <a:gd name="connsiteX0" fmla="*/ 0 w 5185236"/>
              <a:gd name="connsiteY0" fmla="*/ 0 h 3846197"/>
              <a:gd name="connsiteX1" fmla="*/ 5185236 w 5185236"/>
              <a:gd name="connsiteY1" fmla="*/ 0 h 3846197"/>
              <a:gd name="connsiteX2" fmla="*/ 5185236 w 5185236"/>
              <a:gd name="connsiteY2" fmla="*/ 3347307 h 3846197"/>
              <a:gd name="connsiteX3" fmla="*/ 0 w 5185236"/>
              <a:gd name="connsiteY3" fmla="*/ 3846197 h 384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236" h="3846197">
                <a:moveTo>
                  <a:pt x="0" y="0"/>
                </a:moveTo>
                <a:lnTo>
                  <a:pt x="5185236" y="0"/>
                </a:lnTo>
                <a:lnTo>
                  <a:pt x="5185236" y="3347307"/>
                </a:lnTo>
                <a:lnTo>
                  <a:pt x="0" y="384619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26361" y="3558602"/>
            <a:ext cx="2069066" cy="1715020"/>
          </a:xfr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02D993-7EF4-4273-AFC6-CA85D55A1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59558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3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0854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298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8C537BA-F270-492E-9842-0197B8523B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D6AB30F3-FA02-447B-B929-87AE828698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1196975"/>
            <a:ext cx="3349484" cy="4369437"/>
          </a:xfrm>
          <a:custGeom>
            <a:avLst/>
            <a:gdLst>
              <a:gd name="connsiteX0" fmla="*/ 0 w 3349484"/>
              <a:gd name="connsiteY0" fmla="*/ 0 h 4369437"/>
              <a:gd name="connsiteX1" fmla="*/ 3349484 w 3349484"/>
              <a:gd name="connsiteY1" fmla="*/ 0 h 4369437"/>
              <a:gd name="connsiteX2" fmla="*/ 3349484 w 3349484"/>
              <a:gd name="connsiteY2" fmla="*/ 4045937 h 4369437"/>
              <a:gd name="connsiteX3" fmla="*/ 0 w 3349484"/>
              <a:gd name="connsiteY3" fmla="*/ 4369437 h 4369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4369437">
                <a:moveTo>
                  <a:pt x="0" y="0"/>
                </a:moveTo>
                <a:lnTo>
                  <a:pt x="3349484" y="0"/>
                </a:lnTo>
                <a:lnTo>
                  <a:pt x="3349484" y="4045937"/>
                </a:lnTo>
                <a:lnTo>
                  <a:pt x="0" y="4369437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90BCA02-29C1-410D-99F8-06A6E3AC49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6" y="1196975"/>
            <a:ext cx="3384548" cy="4018172"/>
          </a:xfrm>
          <a:custGeom>
            <a:avLst/>
            <a:gdLst>
              <a:gd name="connsiteX0" fmla="*/ 0 w 3384548"/>
              <a:gd name="connsiteY0" fmla="*/ 0 h 4018172"/>
              <a:gd name="connsiteX1" fmla="*/ 3384548 w 3384548"/>
              <a:gd name="connsiteY1" fmla="*/ 0 h 4018172"/>
              <a:gd name="connsiteX2" fmla="*/ 3384548 w 3384548"/>
              <a:gd name="connsiteY2" fmla="*/ 3691286 h 4018172"/>
              <a:gd name="connsiteX3" fmla="*/ 0 w 3384548"/>
              <a:gd name="connsiteY3" fmla="*/ 4018172 h 401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8" h="4018172">
                <a:moveTo>
                  <a:pt x="0" y="0"/>
                </a:moveTo>
                <a:lnTo>
                  <a:pt x="3384548" y="0"/>
                </a:lnTo>
                <a:lnTo>
                  <a:pt x="3384548" y="3691286"/>
                </a:lnTo>
                <a:lnTo>
                  <a:pt x="0" y="401817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Text Placeholder 57">
            <a:extLst>
              <a:ext uri="{FF2B5EF4-FFF2-40B4-BE49-F238E27FC236}">
                <a16:creationId xmlns:a16="http://schemas.microsoft.com/office/drawing/2014/main" id="{B2BA0479-354B-4453-9BD9-3B75CA9E75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1" name="Text Placeholder 61">
            <a:extLst>
              <a:ext uri="{FF2B5EF4-FFF2-40B4-BE49-F238E27FC236}">
                <a16:creationId xmlns:a16="http://schemas.microsoft.com/office/drawing/2014/main" id="{F1711DD1-B6B3-4336-9361-47CF878898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548BEAD-49B1-4AFC-9311-CB049C5F0E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1196975"/>
            <a:ext cx="3349487" cy="3663520"/>
          </a:xfrm>
          <a:custGeom>
            <a:avLst/>
            <a:gdLst>
              <a:gd name="connsiteX0" fmla="*/ 0 w 3349487"/>
              <a:gd name="connsiteY0" fmla="*/ 0 h 3663520"/>
              <a:gd name="connsiteX1" fmla="*/ 3349487 w 3349487"/>
              <a:gd name="connsiteY1" fmla="*/ 0 h 3663520"/>
              <a:gd name="connsiteX2" fmla="*/ 3349487 w 3349487"/>
              <a:gd name="connsiteY2" fmla="*/ 3340021 h 3663520"/>
              <a:gd name="connsiteX3" fmla="*/ 0 w 3349487"/>
              <a:gd name="connsiteY3" fmla="*/ 3663520 h 366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3663520">
                <a:moveTo>
                  <a:pt x="0" y="0"/>
                </a:moveTo>
                <a:lnTo>
                  <a:pt x="3349487" y="0"/>
                </a:lnTo>
                <a:lnTo>
                  <a:pt x="3349487" y="3340021"/>
                </a:lnTo>
                <a:lnTo>
                  <a:pt x="0" y="366352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10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4A26B-C22C-4086-8C39-33D2956F5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58049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4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979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346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843A7F5-0182-4E82-AFB1-CC53CC8C17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660C2763-BC88-455C-AAAD-7B895AF9C3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1196975"/>
            <a:ext cx="2448618" cy="4372796"/>
          </a:xfrm>
          <a:custGeom>
            <a:avLst/>
            <a:gdLst>
              <a:gd name="connsiteX0" fmla="*/ 0 w 2448618"/>
              <a:gd name="connsiteY0" fmla="*/ 0 h 4372796"/>
              <a:gd name="connsiteX1" fmla="*/ 2448618 w 2448618"/>
              <a:gd name="connsiteY1" fmla="*/ 0 h 4372796"/>
              <a:gd name="connsiteX2" fmla="*/ 2448618 w 2448618"/>
              <a:gd name="connsiteY2" fmla="*/ 4137206 h 4372796"/>
              <a:gd name="connsiteX3" fmla="*/ 0 w 2448618"/>
              <a:gd name="connsiteY3" fmla="*/ 4372796 h 437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372796">
                <a:moveTo>
                  <a:pt x="0" y="0"/>
                </a:moveTo>
                <a:lnTo>
                  <a:pt x="2448618" y="0"/>
                </a:lnTo>
                <a:lnTo>
                  <a:pt x="2448618" y="4137206"/>
                </a:lnTo>
                <a:lnTo>
                  <a:pt x="0" y="4372796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A9140D73-F6BF-406C-9D0F-2CFB8641E1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03381" y="1196975"/>
            <a:ext cx="2448620" cy="4109497"/>
          </a:xfrm>
          <a:custGeom>
            <a:avLst/>
            <a:gdLst>
              <a:gd name="connsiteX0" fmla="*/ 0 w 2448620"/>
              <a:gd name="connsiteY0" fmla="*/ 0 h 4109497"/>
              <a:gd name="connsiteX1" fmla="*/ 2448620 w 2448620"/>
              <a:gd name="connsiteY1" fmla="*/ 0 h 4109497"/>
              <a:gd name="connsiteX2" fmla="*/ 2448620 w 2448620"/>
              <a:gd name="connsiteY2" fmla="*/ 3873906 h 4109497"/>
              <a:gd name="connsiteX3" fmla="*/ 0 w 2448620"/>
              <a:gd name="connsiteY3" fmla="*/ 4109497 h 4109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20" h="4109497">
                <a:moveTo>
                  <a:pt x="0" y="0"/>
                </a:moveTo>
                <a:lnTo>
                  <a:pt x="2448620" y="0"/>
                </a:lnTo>
                <a:lnTo>
                  <a:pt x="2448620" y="3873906"/>
                </a:lnTo>
                <a:lnTo>
                  <a:pt x="0" y="410949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Text Placeholder 57">
            <a:extLst>
              <a:ext uri="{FF2B5EF4-FFF2-40B4-BE49-F238E27FC236}">
                <a16:creationId xmlns:a16="http://schemas.microsoft.com/office/drawing/2014/main" id="{586CA799-B057-44C7-99C4-6F70BBC17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6540" y="3833610"/>
            <a:ext cx="2069066" cy="1715020"/>
          </a:xfr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1" name="Text Placeholder 61">
            <a:extLst>
              <a:ext uri="{FF2B5EF4-FFF2-40B4-BE49-F238E27FC236}">
                <a16:creationId xmlns:a16="http://schemas.microsoft.com/office/drawing/2014/main" id="{E262FA7D-EE7C-450D-8F09-CC7E101E4B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C5F7EFC0-BF14-455E-A781-C964300B7AF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0000" y="1196975"/>
            <a:ext cx="2448618" cy="3846197"/>
          </a:xfrm>
          <a:custGeom>
            <a:avLst/>
            <a:gdLst>
              <a:gd name="connsiteX0" fmla="*/ 0 w 2448618"/>
              <a:gd name="connsiteY0" fmla="*/ 0 h 3846197"/>
              <a:gd name="connsiteX1" fmla="*/ 2448618 w 2448618"/>
              <a:gd name="connsiteY1" fmla="*/ 0 h 3846197"/>
              <a:gd name="connsiteX2" fmla="*/ 2448618 w 2448618"/>
              <a:gd name="connsiteY2" fmla="*/ 3610607 h 3846197"/>
              <a:gd name="connsiteX3" fmla="*/ 0 w 2448618"/>
              <a:gd name="connsiteY3" fmla="*/ 3846197 h 384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3846197">
                <a:moveTo>
                  <a:pt x="0" y="0"/>
                </a:moveTo>
                <a:lnTo>
                  <a:pt x="2448618" y="0"/>
                </a:lnTo>
                <a:lnTo>
                  <a:pt x="2448618" y="3610607"/>
                </a:lnTo>
                <a:lnTo>
                  <a:pt x="0" y="38461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0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BA3D35E0-AEA6-4F9B-BC48-9FA4EB495B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76618" y="1196975"/>
            <a:ext cx="2448618" cy="3582896"/>
          </a:xfrm>
          <a:custGeom>
            <a:avLst/>
            <a:gdLst>
              <a:gd name="connsiteX0" fmla="*/ 0 w 2448618"/>
              <a:gd name="connsiteY0" fmla="*/ 0 h 3582896"/>
              <a:gd name="connsiteX1" fmla="*/ 2448618 w 2448618"/>
              <a:gd name="connsiteY1" fmla="*/ 0 h 3582896"/>
              <a:gd name="connsiteX2" fmla="*/ 2448618 w 2448618"/>
              <a:gd name="connsiteY2" fmla="*/ 3347306 h 3582896"/>
              <a:gd name="connsiteX3" fmla="*/ 0 w 2448618"/>
              <a:gd name="connsiteY3" fmla="*/ 3582896 h 3582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3582896">
                <a:moveTo>
                  <a:pt x="0" y="0"/>
                </a:moveTo>
                <a:lnTo>
                  <a:pt x="2448618" y="0"/>
                </a:lnTo>
                <a:lnTo>
                  <a:pt x="2448618" y="3347306"/>
                </a:lnTo>
                <a:lnTo>
                  <a:pt x="0" y="3582896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0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665825-B006-4439-895F-85E2862B5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13112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Titel mit 4 Texten und Bil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98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63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016000"/>
            <a:ext cx="3384550" cy="4133637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21CE8BDA-8958-48E7-8115-79B458038B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6C4E4-A2B3-4F91-ACF4-1386A1141A75}"/>
              </a:ext>
            </a:extLst>
          </p:cNvPr>
          <p:cNvGrpSpPr/>
          <p:nvPr/>
        </p:nvGrpSpPr>
        <p:grpSpPr>
          <a:xfrm>
            <a:off x="0" y="1009784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0" name="Freeform 1">
              <a:extLst>
                <a:ext uri="{FF2B5EF4-FFF2-40B4-BE49-F238E27FC236}">
                  <a16:creationId xmlns:a16="http://schemas.microsoft.com/office/drawing/2014/main" id="{85B15F81-C7C5-4BF1-8B09-16557ED89E46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52C9D7B-3DEC-4F20-A960-0AB2B7912A0C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9A017E0-97E1-40BF-A118-EF8F27D51FAB}"/>
              </a:ext>
            </a:extLst>
          </p:cNvPr>
          <p:cNvGrpSpPr/>
          <p:nvPr/>
        </p:nvGrpSpPr>
        <p:grpSpPr>
          <a:xfrm>
            <a:off x="0" y="3281931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42A5AD33-28B5-4788-AB7B-7039FE3889C2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2621DED-4F6C-4FC0-80E4-5B670F3B1177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EEF72E3-984A-4E1D-B3E5-A8C8F728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16000"/>
            <a:ext cx="3335770" cy="3655357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768" y="1481408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6C97D9E-74F8-4B39-BB82-1BCFEB4908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2768" y="3760730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4262" y="2738352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23256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orient="horz" pos="731" userDrawn="1">
          <p15:clr>
            <a:srgbClr val="FFFFFF"/>
          </p15:clr>
        </p15:guide>
        <p15:guide id="3" orient="horz" pos="210" userDrawn="1">
          <p15:clr>
            <a:srgbClr val="A4A3A4"/>
          </p15:clr>
        </p15:guide>
        <p15:guide id="4" pos="2774" userDrawn="1">
          <p15:clr>
            <a:srgbClr val="F26B43"/>
          </p15:clr>
        </p15:guide>
        <p15:guide id="5" pos="2389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4906" userDrawn="1">
          <p15:clr>
            <a:srgbClr val="F26B43"/>
          </p15:clr>
        </p15:guide>
        <p15:guide id="8" pos="5087" userDrawn="1">
          <p15:clr>
            <a:srgbClr val="F26B43"/>
          </p15:clr>
        </p15:guide>
        <p15:guide id="9" orient="horz" pos="1185" userDrawn="1">
          <p15:clr>
            <a:srgbClr val="F26B43"/>
          </p15:clr>
        </p15:guide>
        <p15:guide id="10" pos="483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WARZ // Titel mit 4 Texten und Bilplatzhalter (unten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8851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65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25F47CB-5D49-4D48-90E7-17EFE25C6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038360"/>
            <a:ext cx="3384550" cy="4139853"/>
          </a:xfrm>
        </p:spPr>
        <p:txBody>
          <a:bodyPr/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6C4E4-A2B3-4F91-ACF4-1386A1141A75}"/>
              </a:ext>
            </a:extLst>
          </p:cNvPr>
          <p:cNvGrpSpPr/>
          <p:nvPr/>
        </p:nvGrpSpPr>
        <p:grpSpPr>
          <a:xfrm>
            <a:off x="0" y="1009784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0" name="Freeform 1">
              <a:extLst>
                <a:ext uri="{FF2B5EF4-FFF2-40B4-BE49-F238E27FC236}">
                  <a16:creationId xmlns:a16="http://schemas.microsoft.com/office/drawing/2014/main" id="{85B15F81-C7C5-4BF1-8B09-16557ED89E46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52C9D7B-3DEC-4F20-A960-0AB2B7912A0C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9A017E0-97E1-40BF-A118-EF8F27D51FAB}"/>
              </a:ext>
            </a:extLst>
          </p:cNvPr>
          <p:cNvGrpSpPr/>
          <p:nvPr/>
        </p:nvGrpSpPr>
        <p:grpSpPr>
          <a:xfrm>
            <a:off x="0" y="3281931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42A5AD33-28B5-4788-AB7B-7039FE3889C2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2621DED-4F6C-4FC0-80E4-5B670F3B1177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EEF72E3-984A-4E1D-B3E5-A8C8F728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38360"/>
            <a:ext cx="3335770" cy="3660853"/>
          </a:xfrm>
        </p:spPr>
        <p:txBody>
          <a:bodyPr/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768" y="1481408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6C97D9E-74F8-4B39-BB82-1BCFEB4908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2768" y="3760730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4262" y="2738352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5" name="Freihandform: Form 27">
            <a:extLst>
              <a:ext uri="{FF2B5EF4-FFF2-40B4-BE49-F238E27FC236}">
                <a16:creationId xmlns:a16="http://schemas.microsoft.com/office/drawing/2014/main" id="{33F3E23B-8741-48BD-93C7-936EFB1280EA}"/>
              </a:ext>
            </a:extLst>
          </p:cNvPr>
          <p:cNvSpPr/>
          <p:nvPr userDrawn="1"/>
        </p:nvSpPr>
        <p:spPr>
          <a:xfrm rot="10800000">
            <a:off x="-2" y="0"/>
            <a:ext cx="3976603" cy="400345"/>
          </a:xfrm>
          <a:custGeom>
            <a:avLst/>
            <a:gdLst>
              <a:gd name="connsiteX0" fmla="*/ 3976603 w 3976603"/>
              <a:gd name="connsiteY0" fmla="*/ 400345 h 400345"/>
              <a:gd name="connsiteX1" fmla="*/ 0 w 3976603"/>
              <a:gd name="connsiteY1" fmla="*/ 400345 h 400345"/>
              <a:gd name="connsiteX2" fmla="*/ 3976603 w 3976603"/>
              <a:gd name="connsiteY2" fmla="*/ 0 h 400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76603" h="400345">
                <a:moveTo>
                  <a:pt x="3976603" y="400345"/>
                </a:moveTo>
                <a:lnTo>
                  <a:pt x="0" y="400345"/>
                </a:lnTo>
                <a:lnTo>
                  <a:pt x="3976603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4130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74" userDrawn="1">
          <p15:clr>
            <a:srgbClr val="F26B43"/>
          </p15:clr>
        </p15:guide>
        <p15:guide id="2" pos="4906" userDrawn="1">
          <p15:clr>
            <a:srgbClr val="F26B43"/>
          </p15:clr>
        </p15:guide>
        <p15:guide id="3" pos="5087" userDrawn="1">
          <p15:clr>
            <a:srgbClr val="F26B43"/>
          </p15:clr>
        </p15:guide>
        <p15:guide id="4" pos="2366" userDrawn="1">
          <p15:clr>
            <a:srgbClr val="F26B43"/>
          </p15:clr>
        </p15:guide>
        <p15:guide id="5" pos="279" userDrawn="1">
          <p15:clr>
            <a:srgbClr val="F26B43"/>
          </p15:clr>
        </p15:guide>
        <p15:guide id="6" pos="483" userDrawn="1">
          <p15:clr>
            <a:srgbClr val="A4A3A4"/>
          </p15:clr>
        </p15:guide>
        <p15:guide id="7" orient="horz" pos="754" userDrawn="1">
          <p15:clr>
            <a:srgbClr val="A4A3A4"/>
          </p15:clr>
        </p15:guide>
        <p15:guide id="9" orient="horz" pos="210" userDrawn="1">
          <p15:clr>
            <a:srgbClr val="A4A3A4"/>
          </p15:clr>
        </p15:guide>
        <p15:guide id="10" orient="horz" pos="1071" userDrawn="1">
          <p15:clr>
            <a:srgbClr val="F26B43"/>
          </p15:clr>
        </p15:guide>
        <p15:guide id="11" orient="horz" pos="1185" userDrawn="1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Titel mit Text und Bildplatzhalter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210DD08-1A6C-D749-AE2F-8AD16051E7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297397"/>
            <a:ext cx="7788277" cy="5396530"/>
          </a:xfrm>
          <a:custGeom>
            <a:avLst/>
            <a:gdLst>
              <a:gd name="connsiteX0" fmla="*/ 7788277 w 7788277"/>
              <a:gd name="connsiteY0" fmla="*/ 0 h 5396530"/>
              <a:gd name="connsiteX1" fmla="*/ 7788277 w 7788277"/>
              <a:gd name="connsiteY1" fmla="*/ 35829 h 5396530"/>
              <a:gd name="connsiteX2" fmla="*/ 7788277 w 7788277"/>
              <a:gd name="connsiteY2" fmla="*/ 4609377 h 5396530"/>
              <a:gd name="connsiteX3" fmla="*/ 7788277 w 7788277"/>
              <a:gd name="connsiteY3" fmla="*/ 4645206 h 5396530"/>
              <a:gd name="connsiteX4" fmla="*/ 0 w 7788277"/>
              <a:gd name="connsiteY4" fmla="*/ 5396530 h 5396530"/>
              <a:gd name="connsiteX5" fmla="*/ 0 w 7788277"/>
              <a:gd name="connsiteY5" fmla="*/ 5360701 h 5396530"/>
              <a:gd name="connsiteX6" fmla="*/ 0 w 7788277"/>
              <a:gd name="connsiteY6" fmla="*/ 819915 h 5396530"/>
              <a:gd name="connsiteX7" fmla="*/ 0 w 7788277"/>
              <a:gd name="connsiteY7" fmla="*/ 784086 h 5396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88277" h="5396530">
                <a:moveTo>
                  <a:pt x="7788277" y="0"/>
                </a:moveTo>
                <a:lnTo>
                  <a:pt x="7788277" y="35829"/>
                </a:lnTo>
                <a:lnTo>
                  <a:pt x="7788277" y="4609377"/>
                </a:lnTo>
                <a:lnTo>
                  <a:pt x="7788277" y="4645206"/>
                </a:lnTo>
                <a:lnTo>
                  <a:pt x="0" y="5396530"/>
                </a:lnTo>
                <a:lnTo>
                  <a:pt x="0" y="5360701"/>
                </a:lnTo>
                <a:lnTo>
                  <a:pt x="0" y="819915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267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69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Freeform 6">
            <a:extLst>
              <a:ext uri="{FF2B5EF4-FFF2-40B4-BE49-F238E27FC236}">
                <a16:creationId xmlns:a16="http://schemas.microsoft.com/office/drawing/2014/main" id="{67FF8414-8E5A-459A-9165-71FF071DA875}"/>
              </a:ext>
            </a:extLst>
          </p:cNvPr>
          <p:cNvSpPr/>
          <p:nvPr userDrawn="1"/>
        </p:nvSpPr>
        <p:spPr>
          <a:xfrm>
            <a:off x="-14320" y="4773329"/>
            <a:ext cx="12206319" cy="2084670"/>
          </a:xfrm>
          <a:custGeom>
            <a:avLst/>
            <a:gdLst>
              <a:gd name="connsiteX0" fmla="*/ 12206319 w 12206319"/>
              <a:gd name="connsiteY0" fmla="*/ 0 h 2084670"/>
              <a:gd name="connsiteX1" fmla="*/ 12206319 w 12206319"/>
              <a:gd name="connsiteY1" fmla="*/ 581488 h 2084670"/>
              <a:gd name="connsiteX2" fmla="*/ 12206319 w 12206319"/>
              <a:gd name="connsiteY2" fmla="*/ 1177527 h 2084670"/>
              <a:gd name="connsiteX3" fmla="*/ 12206319 w 12206319"/>
              <a:gd name="connsiteY3" fmla="*/ 2084670 h 2084670"/>
              <a:gd name="connsiteX4" fmla="*/ 0 w 12206319"/>
              <a:gd name="connsiteY4" fmla="*/ 2084670 h 2084670"/>
              <a:gd name="connsiteX5" fmla="*/ 0 w 12206319"/>
              <a:gd name="connsiteY5" fmla="*/ 1177527 h 2084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6319" h="2084670">
                <a:moveTo>
                  <a:pt x="12206319" y="0"/>
                </a:moveTo>
                <a:lnTo>
                  <a:pt x="12206319" y="581488"/>
                </a:lnTo>
                <a:lnTo>
                  <a:pt x="12206319" y="1177527"/>
                </a:lnTo>
                <a:lnTo>
                  <a:pt x="12206319" y="2084670"/>
                </a:lnTo>
                <a:lnTo>
                  <a:pt x="0" y="2084670"/>
                </a:lnTo>
                <a:lnTo>
                  <a:pt x="0" y="1177527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8" name="Freeform 75">
            <a:extLst>
              <a:ext uri="{FF2B5EF4-FFF2-40B4-BE49-F238E27FC236}">
                <a16:creationId xmlns:a16="http://schemas.microsoft.com/office/drawing/2014/main" id="{2CFF6931-BFFB-4A62-B2EA-3CB764125AD2}"/>
              </a:ext>
            </a:extLst>
          </p:cNvPr>
          <p:cNvSpPr/>
          <p:nvPr userDrawn="1"/>
        </p:nvSpPr>
        <p:spPr>
          <a:xfrm>
            <a:off x="8922326" y="5213506"/>
            <a:ext cx="2284395" cy="1894178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D9E003">
              <a:alpha val="2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7083" y="4447708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9" name="Text Placeholder 34">
            <a:extLst>
              <a:ext uri="{FF2B5EF4-FFF2-40B4-BE49-F238E27FC236}">
                <a16:creationId xmlns:a16="http://schemas.microsoft.com/office/drawing/2014/main" id="{20E344C6-0D9D-48BE-A8DB-BA19B21C3A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16000"/>
            <a:ext cx="3335770" cy="3757329"/>
          </a:xfrm>
        </p:spPr>
        <p:txBody>
          <a:bodyPr/>
          <a:lstStyle>
            <a:lvl1pPr marL="0" indent="0">
              <a:buNone/>
              <a:defRPr b="1" spc="0">
                <a:solidFill>
                  <a:schemeClr val="tx1"/>
                </a:solidFill>
              </a:defRPr>
            </a:lvl1pPr>
            <a:lvl2pPr marL="0" indent="0">
              <a:buNone/>
              <a:defRPr spc="0"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buSzPct val="100000"/>
              <a:buFont typeface="Arial" panose="020B0604020202020204" pitchFamily="34" charset="0"/>
              <a:buChar char="&gt;"/>
              <a:defRPr spc="0">
                <a:solidFill>
                  <a:schemeClr val="tx1"/>
                </a:solidFill>
              </a:defRPr>
            </a:lvl3pPr>
            <a:lvl4pPr marL="715963" indent="-357188"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pc="0">
                <a:solidFill>
                  <a:schemeClr val="tx1"/>
                </a:solidFill>
              </a:defRPr>
            </a:lvl4pPr>
            <a:lvl5pPr marL="360363" indent="-360363">
              <a:buSzPct val="130000"/>
              <a:buFontTx/>
              <a:buBlip>
                <a:blip r:embed="rId7"/>
              </a:buBlip>
              <a:defRPr b="0" spc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15355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87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CHWARZ // Bild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2517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0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9C8FAAA3-C206-4AB6-B5E7-12A5FFBDB57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5286826"/>
          </a:xfrm>
          <a:custGeom>
            <a:avLst/>
            <a:gdLst>
              <a:gd name="connsiteX0" fmla="*/ 0 w 12192000"/>
              <a:gd name="connsiteY0" fmla="*/ 0 h 5286826"/>
              <a:gd name="connsiteX1" fmla="*/ 12192000 w 12192000"/>
              <a:gd name="connsiteY1" fmla="*/ 0 h 5286826"/>
              <a:gd name="connsiteX2" fmla="*/ 12192000 w 12192000"/>
              <a:gd name="connsiteY2" fmla="*/ 4110680 h 5286826"/>
              <a:gd name="connsiteX3" fmla="*/ 0 w 12192000"/>
              <a:gd name="connsiteY3" fmla="*/ 5286826 h 5286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86826">
                <a:moveTo>
                  <a:pt x="0" y="0"/>
                </a:moveTo>
                <a:lnTo>
                  <a:pt x="12192000" y="0"/>
                </a:lnTo>
                <a:lnTo>
                  <a:pt x="12192000" y="4110680"/>
                </a:lnTo>
                <a:lnTo>
                  <a:pt x="0" y="528682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684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210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065" userDrawn="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r Bilplatzhalt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1514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71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ihandform: Form 27">
            <a:extLst>
              <a:ext uri="{FF2B5EF4-FFF2-40B4-BE49-F238E27FC236}">
                <a16:creationId xmlns:a16="http://schemas.microsoft.com/office/drawing/2014/main" id="{95D94426-CD31-4CB6-9F92-417C86DD83E5}"/>
              </a:ext>
            </a:extLst>
          </p:cNvPr>
          <p:cNvSpPr/>
          <p:nvPr userDrawn="1"/>
        </p:nvSpPr>
        <p:spPr>
          <a:xfrm rot="10800000" flipH="1" flipV="1">
            <a:off x="1449685" y="5776515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56F5AB8-9436-4ACC-9DE2-DE3EA98CC9A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742305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0742305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23AD241-DF8E-4051-8B5A-E0AA069385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331641"/>
            <a:ext cx="5127438" cy="4526359"/>
          </a:xfrm>
          <a:custGeom>
            <a:avLst/>
            <a:gdLst>
              <a:gd name="connsiteX0" fmla="*/ 5100034 w 5127438"/>
              <a:gd name="connsiteY0" fmla="*/ 0 h 4526359"/>
              <a:gd name="connsiteX1" fmla="*/ 5127438 w 5127438"/>
              <a:gd name="connsiteY1" fmla="*/ 0 h 4526359"/>
              <a:gd name="connsiteX2" fmla="*/ 5127438 w 5127438"/>
              <a:gd name="connsiteY2" fmla="*/ 4211781 h 4526359"/>
              <a:gd name="connsiteX3" fmla="*/ 2002757 w 5127438"/>
              <a:gd name="connsiteY3" fmla="*/ 4526359 h 4526359"/>
              <a:gd name="connsiteX4" fmla="*/ 0 w 5127438"/>
              <a:gd name="connsiteY4" fmla="*/ 4526359 h 4526359"/>
              <a:gd name="connsiteX5" fmla="*/ 0 w 5127438"/>
              <a:gd name="connsiteY5" fmla="*/ 513447 h 4526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27438" h="4526359">
                <a:moveTo>
                  <a:pt x="5100034" y="0"/>
                </a:moveTo>
                <a:lnTo>
                  <a:pt x="5127438" y="0"/>
                </a:lnTo>
                <a:lnTo>
                  <a:pt x="5127438" y="4211781"/>
                </a:lnTo>
                <a:lnTo>
                  <a:pt x="2002757" y="4526359"/>
                </a:lnTo>
                <a:lnTo>
                  <a:pt x="0" y="4526359"/>
                </a:lnTo>
                <a:lnTo>
                  <a:pt x="0" y="513447"/>
                </a:lnTo>
                <a:close/>
              </a:path>
            </a:pathLst>
          </a:custGeom>
          <a:solidFill>
            <a:schemeClr val="tx2">
              <a:alpha val="74000"/>
            </a:schemeClr>
          </a:solidFill>
        </p:spPr>
        <p:txBody>
          <a:bodyPr wrap="square" lIns="1008000" tIns="864000" rIns="1008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43040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2 Texte auf Bil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F0BFEF38-786D-4152-A749-2AFFD780C12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7398"/>
            <a:ext cx="7788277" cy="6216757"/>
          </a:xfrm>
          <a:custGeom>
            <a:avLst/>
            <a:gdLst>
              <a:gd name="connsiteX0" fmla="*/ 7788277 w 7788277"/>
              <a:gd name="connsiteY0" fmla="*/ 0 h 6216757"/>
              <a:gd name="connsiteX1" fmla="*/ 7788277 w 7788277"/>
              <a:gd name="connsiteY1" fmla="*/ 856056 h 6216757"/>
              <a:gd name="connsiteX2" fmla="*/ 7788277 w 7788277"/>
              <a:gd name="connsiteY2" fmla="*/ 979568 h 6216757"/>
              <a:gd name="connsiteX3" fmla="*/ 4116386 w 7788277"/>
              <a:gd name="connsiteY3" fmla="*/ 1349236 h 6216757"/>
              <a:gd name="connsiteX4" fmla="*/ 4116386 w 7788277"/>
              <a:gd name="connsiteY4" fmla="*/ 1364277 h 6216757"/>
              <a:gd name="connsiteX5" fmla="*/ 4116386 w 7788277"/>
              <a:gd name="connsiteY5" fmla="*/ 3014189 h 6216757"/>
              <a:gd name="connsiteX6" fmla="*/ 4116386 w 7788277"/>
              <a:gd name="connsiteY6" fmla="*/ 5819655 h 6216757"/>
              <a:gd name="connsiteX7" fmla="*/ 0 w 7788277"/>
              <a:gd name="connsiteY7" fmla="*/ 6216757 h 6216757"/>
              <a:gd name="connsiteX8" fmla="*/ 0 w 7788277"/>
              <a:gd name="connsiteY8" fmla="*/ 5360701 h 6216757"/>
              <a:gd name="connsiteX9" fmla="*/ 0 w 7788277"/>
              <a:gd name="connsiteY9" fmla="*/ 1640142 h 6216757"/>
              <a:gd name="connsiteX10" fmla="*/ 0 w 7788277"/>
              <a:gd name="connsiteY10" fmla="*/ 784086 h 621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88277" h="6216757">
                <a:moveTo>
                  <a:pt x="7788277" y="0"/>
                </a:moveTo>
                <a:lnTo>
                  <a:pt x="7788277" y="856056"/>
                </a:lnTo>
                <a:lnTo>
                  <a:pt x="7788277" y="979568"/>
                </a:lnTo>
                <a:lnTo>
                  <a:pt x="4116386" y="1349236"/>
                </a:lnTo>
                <a:lnTo>
                  <a:pt x="4116386" y="1364277"/>
                </a:lnTo>
                <a:lnTo>
                  <a:pt x="4116386" y="3014189"/>
                </a:lnTo>
                <a:lnTo>
                  <a:pt x="4116386" y="5819655"/>
                </a:lnTo>
                <a:lnTo>
                  <a:pt x="0" y="6216757"/>
                </a:lnTo>
                <a:lnTo>
                  <a:pt x="0" y="5360701"/>
                </a:lnTo>
                <a:lnTo>
                  <a:pt x="0" y="1640142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148BEEFE-4F0A-4044-96B5-A6ADD49FFDC3}"/>
              </a:ext>
            </a:extLst>
          </p:cNvPr>
          <p:cNvSpPr/>
          <p:nvPr userDrawn="1"/>
        </p:nvSpPr>
        <p:spPr>
          <a:xfrm rot="10800000">
            <a:off x="4116386" y="878210"/>
            <a:ext cx="7632701" cy="5912718"/>
          </a:xfrm>
          <a:custGeom>
            <a:avLst/>
            <a:gdLst>
              <a:gd name="connsiteX0" fmla="*/ 0 w 7632701"/>
              <a:gd name="connsiteY0" fmla="*/ 5912718 h 5912718"/>
              <a:gd name="connsiteX1" fmla="*/ 0 w 7632701"/>
              <a:gd name="connsiteY1" fmla="*/ 5897677 h 5912718"/>
              <a:gd name="connsiteX2" fmla="*/ 0 w 7632701"/>
              <a:gd name="connsiteY2" fmla="*/ 5837327 h 5912718"/>
              <a:gd name="connsiteX3" fmla="*/ 0 w 7632701"/>
              <a:gd name="connsiteY3" fmla="*/ 5774928 h 5912718"/>
              <a:gd name="connsiteX4" fmla="*/ 0 w 7632701"/>
              <a:gd name="connsiteY4" fmla="*/ 5759887 h 5912718"/>
              <a:gd name="connsiteX5" fmla="*/ 0 w 7632701"/>
              <a:gd name="connsiteY5" fmla="*/ 5699537 h 5912718"/>
              <a:gd name="connsiteX6" fmla="*/ 0 w 7632701"/>
              <a:gd name="connsiteY6" fmla="*/ 5697598 h 5912718"/>
              <a:gd name="connsiteX7" fmla="*/ 0 w 7632701"/>
              <a:gd name="connsiteY7" fmla="*/ 5589538 h 5912718"/>
              <a:gd name="connsiteX8" fmla="*/ 0 w 7632701"/>
              <a:gd name="connsiteY8" fmla="*/ 5559808 h 5912718"/>
              <a:gd name="connsiteX9" fmla="*/ 0 w 7632701"/>
              <a:gd name="connsiteY9" fmla="*/ 5530900 h 5912718"/>
              <a:gd name="connsiteX10" fmla="*/ 0 w 7632701"/>
              <a:gd name="connsiteY10" fmla="*/ 5451748 h 5912718"/>
              <a:gd name="connsiteX11" fmla="*/ 0 w 7632701"/>
              <a:gd name="connsiteY11" fmla="*/ 5422839 h 5912718"/>
              <a:gd name="connsiteX12" fmla="*/ 0 w 7632701"/>
              <a:gd name="connsiteY12" fmla="*/ 5393110 h 5912718"/>
              <a:gd name="connsiteX13" fmla="*/ 0 w 7632701"/>
              <a:gd name="connsiteY13" fmla="*/ 5285049 h 5912718"/>
              <a:gd name="connsiteX14" fmla="*/ 0 w 7632701"/>
              <a:gd name="connsiteY14" fmla="*/ 5275330 h 5912718"/>
              <a:gd name="connsiteX15" fmla="*/ 0 w 7632701"/>
              <a:gd name="connsiteY15" fmla="*/ 5137540 h 5912718"/>
              <a:gd name="connsiteX16" fmla="*/ 0 w 7632701"/>
              <a:gd name="connsiteY16" fmla="*/ 4247765 h 5912718"/>
              <a:gd name="connsiteX17" fmla="*/ 0 w 7632701"/>
              <a:gd name="connsiteY17" fmla="*/ 4109975 h 5912718"/>
              <a:gd name="connsiteX18" fmla="*/ 0 w 7632701"/>
              <a:gd name="connsiteY18" fmla="*/ 3625418 h 5912718"/>
              <a:gd name="connsiteX19" fmla="*/ 0 w 7632701"/>
              <a:gd name="connsiteY19" fmla="*/ 3487628 h 5912718"/>
              <a:gd name="connsiteX20" fmla="*/ 0 w 7632701"/>
              <a:gd name="connsiteY20" fmla="*/ 3379668 h 5912718"/>
              <a:gd name="connsiteX21" fmla="*/ 0 w 7632701"/>
              <a:gd name="connsiteY21" fmla="*/ 3241878 h 5912718"/>
              <a:gd name="connsiteX22" fmla="*/ 0 w 7632701"/>
              <a:gd name="connsiteY22" fmla="*/ 2970612 h 5912718"/>
              <a:gd name="connsiteX23" fmla="*/ 0 w 7632701"/>
              <a:gd name="connsiteY23" fmla="*/ 2832822 h 5912718"/>
              <a:gd name="connsiteX24" fmla="*/ 0 w 7632701"/>
              <a:gd name="connsiteY24" fmla="*/ 2664186 h 5912718"/>
              <a:gd name="connsiteX25" fmla="*/ 0 w 7632701"/>
              <a:gd name="connsiteY25" fmla="*/ 2556126 h 5912718"/>
              <a:gd name="connsiteX26" fmla="*/ 0 w 7632701"/>
              <a:gd name="connsiteY26" fmla="*/ 2526396 h 5912718"/>
              <a:gd name="connsiteX27" fmla="*/ 0 w 7632701"/>
              <a:gd name="connsiteY27" fmla="*/ 2418336 h 5912718"/>
              <a:gd name="connsiteX28" fmla="*/ 0 w 7632701"/>
              <a:gd name="connsiteY28" fmla="*/ 1729756 h 5912718"/>
              <a:gd name="connsiteX29" fmla="*/ 0 w 7632701"/>
              <a:gd name="connsiteY29" fmla="*/ 1591966 h 5912718"/>
              <a:gd name="connsiteX30" fmla="*/ 0 w 7632701"/>
              <a:gd name="connsiteY30" fmla="*/ 1320700 h 5912718"/>
              <a:gd name="connsiteX31" fmla="*/ 0 w 7632701"/>
              <a:gd name="connsiteY31" fmla="*/ 1182910 h 5912718"/>
              <a:gd name="connsiteX32" fmla="*/ 0 w 7632701"/>
              <a:gd name="connsiteY32" fmla="*/ 1014273 h 5912718"/>
              <a:gd name="connsiteX33" fmla="*/ 0 w 7632701"/>
              <a:gd name="connsiteY33" fmla="*/ 906214 h 5912718"/>
              <a:gd name="connsiteX34" fmla="*/ 0 w 7632701"/>
              <a:gd name="connsiteY34" fmla="*/ 876483 h 5912718"/>
              <a:gd name="connsiteX35" fmla="*/ 0 w 7632701"/>
              <a:gd name="connsiteY35" fmla="*/ 768424 h 5912718"/>
              <a:gd name="connsiteX36" fmla="*/ 7632701 w 7632701"/>
              <a:gd name="connsiteY36" fmla="*/ 0 h 5912718"/>
              <a:gd name="connsiteX37" fmla="*/ 7632701 w 7632701"/>
              <a:gd name="connsiteY37" fmla="*/ 137790 h 5912718"/>
              <a:gd name="connsiteX38" fmla="*/ 7632701 w 7632701"/>
              <a:gd name="connsiteY38" fmla="*/ 3341551 h 5912718"/>
              <a:gd name="connsiteX39" fmla="*/ 7632701 w 7632701"/>
              <a:gd name="connsiteY39" fmla="*/ 3479341 h 5912718"/>
              <a:gd name="connsiteX40" fmla="*/ 7632701 w 7632701"/>
              <a:gd name="connsiteY40" fmla="*/ 4991463 h 5912718"/>
              <a:gd name="connsiteX41" fmla="*/ 7632701 w 7632701"/>
              <a:gd name="connsiteY41" fmla="*/ 5006504 h 5912718"/>
              <a:gd name="connsiteX42" fmla="*/ 7632701 w 7632701"/>
              <a:gd name="connsiteY42" fmla="*/ 5129253 h 5912718"/>
              <a:gd name="connsiteX43" fmla="*/ 7632701 w 7632701"/>
              <a:gd name="connsiteY43" fmla="*/ 5144294 h 5912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632701" h="5912718">
                <a:moveTo>
                  <a:pt x="0" y="5912718"/>
                </a:moveTo>
                <a:lnTo>
                  <a:pt x="0" y="5897677"/>
                </a:lnTo>
                <a:lnTo>
                  <a:pt x="0" y="5837327"/>
                </a:lnTo>
                <a:lnTo>
                  <a:pt x="0" y="5774928"/>
                </a:lnTo>
                <a:lnTo>
                  <a:pt x="0" y="5759887"/>
                </a:lnTo>
                <a:lnTo>
                  <a:pt x="0" y="5699537"/>
                </a:lnTo>
                <a:lnTo>
                  <a:pt x="0" y="5697598"/>
                </a:lnTo>
                <a:lnTo>
                  <a:pt x="0" y="5589538"/>
                </a:lnTo>
                <a:lnTo>
                  <a:pt x="0" y="5559808"/>
                </a:lnTo>
                <a:lnTo>
                  <a:pt x="0" y="5530900"/>
                </a:lnTo>
                <a:lnTo>
                  <a:pt x="0" y="5451748"/>
                </a:lnTo>
                <a:lnTo>
                  <a:pt x="0" y="5422839"/>
                </a:lnTo>
                <a:lnTo>
                  <a:pt x="0" y="5393110"/>
                </a:lnTo>
                <a:lnTo>
                  <a:pt x="0" y="5285049"/>
                </a:lnTo>
                <a:lnTo>
                  <a:pt x="0" y="5275330"/>
                </a:lnTo>
                <a:lnTo>
                  <a:pt x="0" y="5137540"/>
                </a:lnTo>
                <a:lnTo>
                  <a:pt x="0" y="4247765"/>
                </a:lnTo>
                <a:lnTo>
                  <a:pt x="0" y="4109975"/>
                </a:lnTo>
                <a:lnTo>
                  <a:pt x="0" y="3625418"/>
                </a:lnTo>
                <a:lnTo>
                  <a:pt x="0" y="3487628"/>
                </a:lnTo>
                <a:lnTo>
                  <a:pt x="0" y="3379668"/>
                </a:lnTo>
                <a:lnTo>
                  <a:pt x="0" y="3241878"/>
                </a:lnTo>
                <a:lnTo>
                  <a:pt x="0" y="2970612"/>
                </a:lnTo>
                <a:lnTo>
                  <a:pt x="0" y="2832822"/>
                </a:lnTo>
                <a:lnTo>
                  <a:pt x="0" y="2664186"/>
                </a:lnTo>
                <a:lnTo>
                  <a:pt x="0" y="2556126"/>
                </a:lnTo>
                <a:lnTo>
                  <a:pt x="0" y="2526396"/>
                </a:lnTo>
                <a:lnTo>
                  <a:pt x="0" y="2418336"/>
                </a:lnTo>
                <a:lnTo>
                  <a:pt x="0" y="1729756"/>
                </a:lnTo>
                <a:lnTo>
                  <a:pt x="0" y="1591966"/>
                </a:lnTo>
                <a:lnTo>
                  <a:pt x="0" y="1320700"/>
                </a:lnTo>
                <a:lnTo>
                  <a:pt x="0" y="1182910"/>
                </a:lnTo>
                <a:lnTo>
                  <a:pt x="0" y="1014273"/>
                </a:lnTo>
                <a:lnTo>
                  <a:pt x="0" y="906214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137790"/>
                </a:lnTo>
                <a:lnTo>
                  <a:pt x="7632701" y="3341551"/>
                </a:lnTo>
                <a:lnTo>
                  <a:pt x="7632701" y="347934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7632701" y="5129253"/>
                </a:lnTo>
                <a:lnTo>
                  <a:pt x="7632701" y="5144294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52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73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 userDrawn="1"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0" name="Text Placeholder 61">
            <a:extLst>
              <a:ext uri="{FF2B5EF4-FFF2-40B4-BE49-F238E27FC236}">
                <a16:creationId xmlns:a16="http://schemas.microsoft.com/office/drawing/2014/main" id="{2D02F780-5912-428A-9BD7-0A3D8102FA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8999" y="589506"/>
            <a:ext cx="1216800" cy="12168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1" name="Text Placeholder 34">
            <a:extLst>
              <a:ext uri="{FF2B5EF4-FFF2-40B4-BE49-F238E27FC236}">
                <a16:creationId xmlns:a16="http://schemas.microsoft.com/office/drawing/2014/main" id="{F68C68D2-6AA1-4354-AC6D-4CF0689386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897316"/>
            <a:ext cx="3384550" cy="3806797"/>
          </a:xfrm>
        </p:spPr>
        <p:txBody>
          <a:bodyPr/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2" name="Text Placeholder 34">
            <a:extLst>
              <a:ext uri="{FF2B5EF4-FFF2-40B4-BE49-F238E27FC236}">
                <a16:creationId xmlns:a16="http://schemas.microsoft.com/office/drawing/2014/main" id="{B2627D31-BA2B-49B5-A7EB-39B12E2328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897316"/>
            <a:ext cx="3335770" cy="3806797"/>
          </a:xfrm>
        </p:spPr>
        <p:txBody>
          <a:bodyPr/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12864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  <p15:guide id="2" pos="4906" userDrawn="1">
          <p15:clr>
            <a:srgbClr val="F26B43"/>
          </p15:clr>
        </p15:guide>
        <p15:guide id="3" pos="2774" userDrawn="1">
          <p15:clr>
            <a:srgbClr val="F26B43"/>
          </p15:clr>
        </p15:guide>
        <p15:guide id="4" orient="horz" pos="1185" userDrawn="1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WARZ // 2 Texte auf Bil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529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75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F0BFEF38-786D-4152-A749-2AFFD780C12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7398"/>
            <a:ext cx="7788277" cy="6216757"/>
          </a:xfrm>
          <a:custGeom>
            <a:avLst/>
            <a:gdLst>
              <a:gd name="connsiteX0" fmla="*/ 7788277 w 7788277"/>
              <a:gd name="connsiteY0" fmla="*/ 0 h 6216757"/>
              <a:gd name="connsiteX1" fmla="*/ 7788277 w 7788277"/>
              <a:gd name="connsiteY1" fmla="*/ 856056 h 6216757"/>
              <a:gd name="connsiteX2" fmla="*/ 7788277 w 7788277"/>
              <a:gd name="connsiteY2" fmla="*/ 979568 h 6216757"/>
              <a:gd name="connsiteX3" fmla="*/ 4116386 w 7788277"/>
              <a:gd name="connsiteY3" fmla="*/ 1349236 h 6216757"/>
              <a:gd name="connsiteX4" fmla="*/ 4116386 w 7788277"/>
              <a:gd name="connsiteY4" fmla="*/ 1364277 h 6216757"/>
              <a:gd name="connsiteX5" fmla="*/ 4116386 w 7788277"/>
              <a:gd name="connsiteY5" fmla="*/ 3014189 h 6216757"/>
              <a:gd name="connsiteX6" fmla="*/ 4116386 w 7788277"/>
              <a:gd name="connsiteY6" fmla="*/ 5819655 h 6216757"/>
              <a:gd name="connsiteX7" fmla="*/ 0 w 7788277"/>
              <a:gd name="connsiteY7" fmla="*/ 6216757 h 6216757"/>
              <a:gd name="connsiteX8" fmla="*/ 0 w 7788277"/>
              <a:gd name="connsiteY8" fmla="*/ 5360701 h 6216757"/>
              <a:gd name="connsiteX9" fmla="*/ 0 w 7788277"/>
              <a:gd name="connsiteY9" fmla="*/ 1640142 h 6216757"/>
              <a:gd name="connsiteX10" fmla="*/ 0 w 7788277"/>
              <a:gd name="connsiteY10" fmla="*/ 784086 h 621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88277" h="6216757">
                <a:moveTo>
                  <a:pt x="7788277" y="0"/>
                </a:moveTo>
                <a:lnTo>
                  <a:pt x="7788277" y="856056"/>
                </a:lnTo>
                <a:lnTo>
                  <a:pt x="7788277" y="979568"/>
                </a:lnTo>
                <a:lnTo>
                  <a:pt x="4116386" y="1349236"/>
                </a:lnTo>
                <a:lnTo>
                  <a:pt x="4116386" y="1364277"/>
                </a:lnTo>
                <a:lnTo>
                  <a:pt x="4116386" y="3014189"/>
                </a:lnTo>
                <a:lnTo>
                  <a:pt x="4116386" y="5819655"/>
                </a:lnTo>
                <a:lnTo>
                  <a:pt x="0" y="6216757"/>
                </a:lnTo>
                <a:lnTo>
                  <a:pt x="0" y="5360701"/>
                </a:lnTo>
                <a:lnTo>
                  <a:pt x="0" y="1640142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Freeform 41">
            <a:extLst>
              <a:ext uri="{FF2B5EF4-FFF2-40B4-BE49-F238E27FC236}">
                <a16:creationId xmlns:a16="http://schemas.microsoft.com/office/drawing/2014/main" id="{4F07A579-28CA-49F5-9EEC-EB5412BEBA56}"/>
              </a:ext>
            </a:extLst>
          </p:cNvPr>
          <p:cNvSpPr/>
          <p:nvPr/>
        </p:nvSpPr>
        <p:spPr>
          <a:xfrm>
            <a:off x="102758" y="518040"/>
            <a:ext cx="446364" cy="370116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12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 userDrawn="1"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5" name="Freeform 45">
            <a:extLst>
              <a:ext uri="{FF2B5EF4-FFF2-40B4-BE49-F238E27FC236}">
                <a16:creationId xmlns:a16="http://schemas.microsoft.com/office/drawing/2014/main" id="{D689FEEF-524A-4000-8584-86BE1EBD1742}"/>
              </a:ext>
            </a:extLst>
          </p:cNvPr>
          <p:cNvSpPr/>
          <p:nvPr userDrawn="1"/>
        </p:nvSpPr>
        <p:spPr>
          <a:xfrm rot="10800000">
            <a:off x="4116386" y="878210"/>
            <a:ext cx="7632701" cy="5774928"/>
          </a:xfrm>
          <a:custGeom>
            <a:avLst/>
            <a:gdLst>
              <a:gd name="connsiteX0" fmla="*/ 0 w 7632701"/>
              <a:gd name="connsiteY0" fmla="*/ 5774928 h 5774928"/>
              <a:gd name="connsiteX1" fmla="*/ 0 w 7632701"/>
              <a:gd name="connsiteY1" fmla="*/ 5759887 h 5774928"/>
              <a:gd name="connsiteX2" fmla="*/ 0 w 7632701"/>
              <a:gd name="connsiteY2" fmla="*/ 5699537 h 5774928"/>
              <a:gd name="connsiteX3" fmla="*/ 0 w 7632701"/>
              <a:gd name="connsiteY3" fmla="*/ 5559808 h 5774928"/>
              <a:gd name="connsiteX4" fmla="*/ 0 w 7632701"/>
              <a:gd name="connsiteY4" fmla="*/ 5451748 h 5774928"/>
              <a:gd name="connsiteX5" fmla="*/ 0 w 7632701"/>
              <a:gd name="connsiteY5" fmla="*/ 5393110 h 5774928"/>
              <a:gd name="connsiteX6" fmla="*/ 0 w 7632701"/>
              <a:gd name="connsiteY6" fmla="*/ 5285049 h 5774928"/>
              <a:gd name="connsiteX7" fmla="*/ 0 w 7632701"/>
              <a:gd name="connsiteY7" fmla="*/ 5137540 h 5774928"/>
              <a:gd name="connsiteX8" fmla="*/ 0 w 7632701"/>
              <a:gd name="connsiteY8" fmla="*/ 4109975 h 5774928"/>
              <a:gd name="connsiteX9" fmla="*/ 0 w 7632701"/>
              <a:gd name="connsiteY9" fmla="*/ 3487628 h 5774928"/>
              <a:gd name="connsiteX10" fmla="*/ 0 w 7632701"/>
              <a:gd name="connsiteY10" fmla="*/ 3241878 h 5774928"/>
              <a:gd name="connsiteX11" fmla="*/ 0 w 7632701"/>
              <a:gd name="connsiteY11" fmla="*/ 2832822 h 5774928"/>
              <a:gd name="connsiteX12" fmla="*/ 0 w 7632701"/>
              <a:gd name="connsiteY12" fmla="*/ 2526396 h 5774928"/>
              <a:gd name="connsiteX13" fmla="*/ 0 w 7632701"/>
              <a:gd name="connsiteY13" fmla="*/ 2418336 h 5774928"/>
              <a:gd name="connsiteX14" fmla="*/ 0 w 7632701"/>
              <a:gd name="connsiteY14" fmla="*/ 1591966 h 5774928"/>
              <a:gd name="connsiteX15" fmla="*/ 0 w 7632701"/>
              <a:gd name="connsiteY15" fmla="*/ 1182910 h 5774928"/>
              <a:gd name="connsiteX16" fmla="*/ 0 w 7632701"/>
              <a:gd name="connsiteY16" fmla="*/ 876483 h 5774928"/>
              <a:gd name="connsiteX17" fmla="*/ 0 w 7632701"/>
              <a:gd name="connsiteY17" fmla="*/ 768424 h 5774928"/>
              <a:gd name="connsiteX18" fmla="*/ 7632701 w 7632701"/>
              <a:gd name="connsiteY18" fmla="*/ 0 h 5774928"/>
              <a:gd name="connsiteX19" fmla="*/ 7632701 w 7632701"/>
              <a:gd name="connsiteY19" fmla="*/ 3341551 h 5774928"/>
              <a:gd name="connsiteX20" fmla="*/ 7632701 w 7632701"/>
              <a:gd name="connsiteY20" fmla="*/ 4991463 h 5774928"/>
              <a:gd name="connsiteX21" fmla="*/ 7632701 w 7632701"/>
              <a:gd name="connsiteY21" fmla="*/ 5006504 h 5774928"/>
              <a:gd name="connsiteX22" fmla="*/ 0 w 7632701"/>
              <a:gd name="connsiteY22" fmla="*/ 5774928 h 5774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632701" h="5774928">
                <a:moveTo>
                  <a:pt x="0" y="5774928"/>
                </a:moveTo>
                <a:lnTo>
                  <a:pt x="0" y="5759887"/>
                </a:lnTo>
                <a:lnTo>
                  <a:pt x="0" y="5699537"/>
                </a:lnTo>
                <a:lnTo>
                  <a:pt x="0" y="5559808"/>
                </a:lnTo>
                <a:lnTo>
                  <a:pt x="0" y="5451748"/>
                </a:lnTo>
                <a:lnTo>
                  <a:pt x="0" y="5393110"/>
                </a:lnTo>
                <a:lnTo>
                  <a:pt x="0" y="5285049"/>
                </a:lnTo>
                <a:lnTo>
                  <a:pt x="0" y="5137540"/>
                </a:lnTo>
                <a:lnTo>
                  <a:pt x="0" y="4109975"/>
                </a:lnTo>
                <a:lnTo>
                  <a:pt x="0" y="3487628"/>
                </a:lnTo>
                <a:lnTo>
                  <a:pt x="0" y="3241878"/>
                </a:lnTo>
                <a:lnTo>
                  <a:pt x="0" y="2832822"/>
                </a:lnTo>
                <a:lnTo>
                  <a:pt x="0" y="2526396"/>
                </a:lnTo>
                <a:lnTo>
                  <a:pt x="0" y="2418336"/>
                </a:lnTo>
                <a:lnTo>
                  <a:pt x="0" y="1591966"/>
                </a:lnTo>
                <a:lnTo>
                  <a:pt x="0" y="1182910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334155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0" y="5774928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0" name="Text Placeholder 61">
            <a:extLst>
              <a:ext uri="{FF2B5EF4-FFF2-40B4-BE49-F238E27FC236}">
                <a16:creationId xmlns:a16="http://schemas.microsoft.com/office/drawing/2014/main" id="{2D02F780-5912-428A-9BD7-0A3D8102FA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8999" y="589506"/>
            <a:ext cx="1216800" cy="12168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1" name="Text Placeholder 34">
            <a:extLst>
              <a:ext uri="{FF2B5EF4-FFF2-40B4-BE49-F238E27FC236}">
                <a16:creationId xmlns:a16="http://schemas.microsoft.com/office/drawing/2014/main" id="{F68C68D2-6AA1-4354-AC6D-4CF0689386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3725" y="1897317"/>
            <a:ext cx="3384550" cy="3850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2" name="Text Placeholder 34">
            <a:extLst>
              <a:ext uri="{FF2B5EF4-FFF2-40B4-BE49-F238E27FC236}">
                <a16:creationId xmlns:a16="http://schemas.microsoft.com/office/drawing/2014/main" id="{B2627D31-BA2B-49B5-A7EB-39B12E2328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89468" y="1897317"/>
            <a:ext cx="3335770" cy="3850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62773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  <p15:guide id="2" pos="4906" userDrawn="1">
          <p15:clr>
            <a:srgbClr val="F26B43"/>
          </p15:clr>
        </p15:guide>
        <p15:guide id="3" pos="2774" userDrawn="1">
          <p15:clr>
            <a:srgbClr val="F26B43"/>
          </p15:clr>
        </p15:guide>
        <p15:guide id="4" orient="horz" pos="1185" userDrawn="1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 ist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228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27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CCECD96-025F-4254-A650-7789F60826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4898"/>
          </a:xfrm>
          <a:prstGeom prst="rect">
            <a:avLst/>
          </a:prstGeom>
        </p:spPr>
      </p:pic>
      <p:sp>
        <p:nvSpPr>
          <p:cNvPr id="12" name="Freihandform: Form 14">
            <a:extLst>
              <a:ext uri="{FF2B5EF4-FFF2-40B4-BE49-F238E27FC236}">
                <a16:creationId xmlns:a16="http://schemas.microsoft.com/office/drawing/2014/main" id="{43E90D63-03AB-4F95-A0CD-C046E265DBDA}"/>
              </a:ext>
            </a:extLst>
          </p:cNvPr>
          <p:cNvSpPr/>
          <p:nvPr userDrawn="1"/>
        </p:nvSpPr>
        <p:spPr>
          <a:xfrm>
            <a:off x="-1" y="3392488"/>
            <a:ext cx="12203429" cy="3465512"/>
          </a:xfrm>
          <a:custGeom>
            <a:avLst/>
            <a:gdLst>
              <a:gd name="connsiteX0" fmla="*/ 12203429 w 12203429"/>
              <a:gd name="connsiteY0" fmla="*/ 0 h 3465512"/>
              <a:gd name="connsiteX1" fmla="*/ 12203429 w 12203429"/>
              <a:gd name="connsiteY1" fmla="*/ 537210 h 3465512"/>
              <a:gd name="connsiteX2" fmla="*/ 12203429 w 12203429"/>
              <a:gd name="connsiteY2" fmla="*/ 3465512 h 3465512"/>
              <a:gd name="connsiteX3" fmla="*/ 0 w 12203429"/>
              <a:gd name="connsiteY3" fmla="*/ 3465512 h 3465512"/>
              <a:gd name="connsiteX4" fmla="*/ 0 w 12203429"/>
              <a:gd name="connsiteY4" fmla="*/ 2438057 h 3465512"/>
              <a:gd name="connsiteX5" fmla="*/ 0 w 12203429"/>
              <a:gd name="connsiteY5" fmla="*/ 1900847 h 3465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3429" h="3465512">
                <a:moveTo>
                  <a:pt x="12203429" y="0"/>
                </a:moveTo>
                <a:lnTo>
                  <a:pt x="12203429" y="537210"/>
                </a:lnTo>
                <a:lnTo>
                  <a:pt x="12203429" y="3465512"/>
                </a:lnTo>
                <a:lnTo>
                  <a:pt x="0" y="3465512"/>
                </a:lnTo>
                <a:lnTo>
                  <a:pt x="0" y="2438057"/>
                </a:lnTo>
                <a:lnTo>
                  <a:pt x="0" y="1900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23E87A98-CC42-4FAA-ACC3-90AA4ECAB8ED}"/>
              </a:ext>
            </a:extLst>
          </p:cNvPr>
          <p:cNvSpPr/>
          <p:nvPr userDrawn="1"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01BA83C3-FD58-4EB6-988A-9DE1D8D9518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784" y="6092936"/>
            <a:ext cx="2433209" cy="407523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4F314B62-78C1-467E-935B-9DC461C1F902}"/>
              </a:ext>
            </a:extLst>
          </p:cNvPr>
          <p:cNvSpPr/>
          <p:nvPr userDrawn="1"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chemeClr val="bg1"/>
                </a:solidFill>
                <a:latin typeface="Arial Regular"/>
              </a:rPr>
            </a:b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chemeClr val="bg1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chemeClr val="bg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17" name="Rechteck 9">
            <a:extLst>
              <a:ext uri="{FF2B5EF4-FFF2-40B4-BE49-F238E27FC236}">
                <a16:creationId xmlns:a16="http://schemas.microsoft.com/office/drawing/2014/main" id="{24D6C36E-70EA-4A57-873C-7F5B15BB75FE}"/>
              </a:ext>
            </a:extLst>
          </p:cNvPr>
          <p:cNvSpPr/>
          <p:nvPr userDrawn="1"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chemeClr val="bg1"/>
                </a:solidFill>
                <a:latin typeface="Arial Regular"/>
              </a:rPr>
            </a:b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84347 Pfarrkirchen</a:t>
            </a:r>
          </a:p>
        </p:txBody>
      </p:sp>
      <p:sp>
        <p:nvSpPr>
          <p:cNvPr id="18" name="Rechteck 9">
            <a:extLst>
              <a:ext uri="{FF2B5EF4-FFF2-40B4-BE49-F238E27FC236}">
                <a16:creationId xmlns:a16="http://schemas.microsoft.com/office/drawing/2014/main" id="{826C7656-9D82-4B14-992A-49BBA6F819EC}"/>
              </a:ext>
            </a:extLst>
          </p:cNvPr>
          <p:cNvSpPr/>
          <p:nvPr userDrawn="1"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 err="1">
                <a:solidFill>
                  <a:schemeClr val="accent1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chemeClr val="accent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9224588" cy="184665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2401538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platzhalt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8584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30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09D9D87E-83CD-4F57-91C0-AB038C6D26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415088" cy="6858000"/>
          </a:xfrm>
          <a:custGeom>
            <a:avLst/>
            <a:gdLst>
              <a:gd name="connsiteX0" fmla="*/ 0 w 9415088"/>
              <a:gd name="connsiteY0" fmla="*/ 0 h 6858000"/>
              <a:gd name="connsiteX1" fmla="*/ 9415088 w 9415088"/>
              <a:gd name="connsiteY1" fmla="*/ 0 h 6858000"/>
              <a:gd name="connsiteX2" fmla="*/ 6217151 w 9415088"/>
              <a:gd name="connsiteY2" fmla="*/ 6858000 h 6858000"/>
              <a:gd name="connsiteX3" fmla="*/ 0 w 94150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15088" h="6858000">
                <a:moveTo>
                  <a:pt x="0" y="0"/>
                </a:moveTo>
                <a:lnTo>
                  <a:pt x="9415088" y="0"/>
                </a:lnTo>
                <a:lnTo>
                  <a:pt x="621715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39A11E70-DAD7-40D1-B416-A9A3AE091DAF}"/>
              </a:ext>
            </a:extLst>
          </p:cNvPr>
          <p:cNvSpPr/>
          <p:nvPr userDrawn="1"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tx1"/>
              </a:solidFill>
            </a:endParaRPr>
          </a:p>
        </p:txBody>
      </p:sp>
      <p:sp>
        <p:nvSpPr>
          <p:cNvPr id="21" name="Rechteck 9">
            <a:extLst>
              <a:ext uri="{FF2B5EF4-FFF2-40B4-BE49-F238E27FC236}">
                <a16:creationId xmlns:a16="http://schemas.microsoft.com/office/drawing/2014/main" id="{B5143025-2493-4286-B28D-5D316F4CC15F}"/>
              </a:ext>
            </a:extLst>
          </p:cNvPr>
          <p:cNvSpPr/>
          <p:nvPr userDrawn="1"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chemeClr val="tx1"/>
                </a:solidFill>
                <a:latin typeface="Arial Regular"/>
              </a:rPr>
            </a:b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chemeClr val="tx1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chemeClr val="tx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22" name="Rechteck 9">
            <a:extLst>
              <a:ext uri="{FF2B5EF4-FFF2-40B4-BE49-F238E27FC236}">
                <a16:creationId xmlns:a16="http://schemas.microsoft.com/office/drawing/2014/main" id="{73C0424B-5F9D-49C6-9DFD-78AE93DFFC19}"/>
              </a:ext>
            </a:extLst>
          </p:cNvPr>
          <p:cNvSpPr/>
          <p:nvPr userDrawn="1"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chemeClr val="tx1"/>
                </a:solidFill>
                <a:latin typeface="Arial Regular"/>
              </a:rPr>
            </a:b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84347 Pfarrkirchen</a:t>
            </a:r>
          </a:p>
        </p:txBody>
      </p:sp>
      <p:sp>
        <p:nvSpPr>
          <p:cNvPr id="23" name="Rechteck 9">
            <a:extLst>
              <a:ext uri="{FF2B5EF4-FFF2-40B4-BE49-F238E27FC236}">
                <a16:creationId xmlns:a16="http://schemas.microsoft.com/office/drawing/2014/main" id="{6F212A99-82CE-43A9-BBB0-69DA270EB569}"/>
              </a:ext>
            </a:extLst>
          </p:cNvPr>
          <p:cNvSpPr/>
          <p:nvPr userDrawn="1"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 err="1">
                <a:solidFill>
                  <a:schemeClr val="accent1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chemeClr val="accent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</p:txBody>
      </p:sp>
      <p:pic>
        <p:nvPicPr>
          <p:cNvPr id="24" name="Grafik 7">
            <a:extLst>
              <a:ext uri="{FF2B5EF4-FFF2-40B4-BE49-F238E27FC236}">
                <a16:creationId xmlns:a16="http://schemas.microsoft.com/office/drawing/2014/main" id="{9E1E5A2C-E031-4C09-A410-64D0BD36410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7663" y="4014254"/>
            <a:ext cx="3349625" cy="561008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3920499"/>
            <a:ext cx="5814432" cy="184665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44833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// Bildplatzhal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869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86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Picture Placeholder 17">
            <a:extLst>
              <a:ext uri="{FF2B5EF4-FFF2-40B4-BE49-F238E27FC236}">
                <a16:creationId xmlns:a16="http://schemas.microsoft.com/office/drawing/2014/main" id="{8BBD763D-9831-4A19-A5FB-7D047CE374B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5286826"/>
          </a:xfrm>
          <a:custGeom>
            <a:avLst/>
            <a:gdLst>
              <a:gd name="connsiteX0" fmla="*/ 0 w 12192000"/>
              <a:gd name="connsiteY0" fmla="*/ 0 h 5286826"/>
              <a:gd name="connsiteX1" fmla="*/ 12192000 w 12192000"/>
              <a:gd name="connsiteY1" fmla="*/ 0 h 5286826"/>
              <a:gd name="connsiteX2" fmla="*/ 12192000 w 12192000"/>
              <a:gd name="connsiteY2" fmla="*/ 4110680 h 5286826"/>
              <a:gd name="connsiteX3" fmla="*/ 0 w 12192000"/>
              <a:gd name="connsiteY3" fmla="*/ 5286826 h 5286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86826">
                <a:moveTo>
                  <a:pt x="0" y="0"/>
                </a:moveTo>
                <a:lnTo>
                  <a:pt x="12192000" y="0"/>
                </a:lnTo>
                <a:lnTo>
                  <a:pt x="12192000" y="4110680"/>
                </a:lnTo>
                <a:lnTo>
                  <a:pt x="0" y="528682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pSp>
        <p:nvGrpSpPr>
          <p:cNvPr id="19" name="Group 11">
            <a:extLst>
              <a:ext uri="{FF2B5EF4-FFF2-40B4-BE49-F238E27FC236}">
                <a16:creationId xmlns:a16="http://schemas.microsoft.com/office/drawing/2014/main" id="{DD0B2458-7347-4F27-A78C-530CE66DB127}"/>
              </a:ext>
            </a:extLst>
          </p:cNvPr>
          <p:cNvGrpSpPr/>
          <p:nvPr userDrawn="1"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20" name="Freihandform: Form 36">
              <a:extLst>
                <a:ext uri="{FF2B5EF4-FFF2-40B4-BE49-F238E27FC236}">
                  <a16:creationId xmlns:a16="http://schemas.microsoft.com/office/drawing/2014/main" id="{A4428FEA-6C26-4852-A3E9-8FF018FA60FA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Freihandform: Form 36">
              <a:extLst>
                <a:ext uri="{FF2B5EF4-FFF2-40B4-BE49-F238E27FC236}">
                  <a16:creationId xmlns:a16="http://schemas.microsoft.com/office/drawing/2014/main" id="{C5F530EB-DAA4-4C10-9CB7-29DF4AEF6C25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lvl="0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480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210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065" userDrawn="1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// Bild fi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4FB6EE2C-707F-C44D-8AA5-9E2D85214630}"/>
              </a:ext>
            </a:extLst>
          </p:cNvPr>
          <p:cNvSpPr/>
          <p:nvPr userDrawn="1"/>
        </p:nvSpPr>
        <p:spPr>
          <a:xfrm>
            <a:off x="-2" y="0"/>
            <a:ext cx="12192001" cy="6193111"/>
          </a:xfrm>
          <a:prstGeom prst="rect">
            <a:avLst/>
          </a:prstGeom>
          <a:solidFill>
            <a:srgbClr val="00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7D80E89-247E-A848-AC8E-FD04136F57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9308" y="0"/>
            <a:ext cx="7531100" cy="5400942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FD36E87A-29D3-BC47-8370-3C6F038F86FB}"/>
              </a:ext>
            </a:extLst>
          </p:cNvPr>
          <p:cNvGrpSpPr/>
          <p:nvPr userDrawn="1"/>
        </p:nvGrpSpPr>
        <p:grpSpPr>
          <a:xfrm>
            <a:off x="1" y="4109111"/>
            <a:ext cx="12192000" cy="2584735"/>
            <a:chOff x="1" y="4109111"/>
            <a:chExt cx="12192000" cy="2584735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4D2EE94-2913-F74B-BF74-14EEECDA3E6A}"/>
                </a:ext>
              </a:extLst>
            </p:cNvPr>
            <p:cNvGrpSpPr/>
            <p:nvPr userDrawn="1"/>
          </p:nvGrpSpPr>
          <p:grpSpPr>
            <a:xfrm>
              <a:off x="1" y="4109111"/>
              <a:ext cx="12192000" cy="2156110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27" name="Freihandform: Form 36">
                <a:extLst>
                  <a:ext uri="{FF2B5EF4-FFF2-40B4-BE49-F238E27FC236}">
                    <a16:creationId xmlns:a16="http://schemas.microsoft.com/office/drawing/2014/main" id="{77B660CE-0A34-A240-B62F-43519ED186EF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custGeom>
                <a:avLst/>
                <a:gdLst>
                  <a:gd name="connsiteX0" fmla="*/ 6984082 w 6984082"/>
                  <a:gd name="connsiteY0" fmla="*/ 0 h 1087864"/>
                  <a:gd name="connsiteX1" fmla="*/ 6984082 w 6984082"/>
                  <a:gd name="connsiteY1" fmla="*/ 537210 h 1087864"/>
                  <a:gd name="connsiteX2" fmla="*/ 6984082 w 6984082"/>
                  <a:gd name="connsiteY2" fmla="*/ 1087864 h 1087864"/>
                  <a:gd name="connsiteX3" fmla="*/ 0 w 6984082"/>
                  <a:gd name="connsiteY3" fmla="*/ 1087864 h 1087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84082" h="1087864">
                    <a:moveTo>
                      <a:pt x="6984082" y="0"/>
                    </a:moveTo>
                    <a:lnTo>
                      <a:pt x="6984082" y="537210"/>
                    </a:lnTo>
                    <a:lnTo>
                      <a:pt x="6984082" y="1087864"/>
                    </a:lnTo>
                    <a:lnTo>
                      <a:pt x="0" y="1087864"/>
                    </a:lnTo>
                    <a:close/>
                  </a:path>
                </a:pathLst>
              </a:cu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Freihandform: Form 36">
                <a:extLst>
                  <a:ext uri="{FF2B5EF4-FFF2-40B4-BE49-F238E27FC236}">
                    <a16:creationId xmlns:a16="http://schemas.microsoft.com/office/drawing/2014/main" id="{A4B9466F-338C-094F-940A-E4F8C0FB212E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E1FC518-7A43-5B4E-ACD6-904D7BF83146}"/>
                </a:ext>
              </a:extLst>
            </p:cNvPr>
            <p:cNvGrpSpPr/>
            <p:nvPr userDrawn="1"/>
          </p:nvGrpSpPr>
          <p:grpSpPr>
            <a:xfrm>
              <a:off x="1" y="5286638"/>
              <a:ext cx="12192000" cy="1407208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25" name="Freihandform: Form 36">
                <a:extLst>
                  <a:ext uri="{FF2B5EF4-FFF2-40B4-BE49-F238E27FC236}">
                    <a16:creationId xmlns:a16="http://schemas.microsoft.com/office/drawing/2014/main" id="{E8B85861-FFF2-9044-AB3C-0431F4DAD23B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Freihandform: Form 36">
                <a:extLst>
                  <a:ext uri="{FF2B5EF4-FFF2-40B4-BE49-F238E27FC236}">
                    <a16:creationId xmlns:a16="http://schemas.microsoft.com/office/drawing/2014/main" id="{39254663-6158-6A45-AE29-7268EB9EC89A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A0779EA-D713-DD4F-80D4-8D599941F06A}"/>
              </a:ext>
            </a:extLst>
          </p:cNvPr>
          <p:cNvGrpSpPr/>
          <p:nvPr userDrawn="1"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15" name="Freihandform: Form 36">
              <a:extLst>
                <a:ext uri="{FF2B5EF4-FFF2-40B4-BE49-F238E27FC236}">
                  <a16:creationId xmlns:a16="http://schemas.microsoft.com/office/drawing/2014/main" id="{6B81F7C2-50E7-D648-A1CA-DE8AF9652D34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ihandform: Form 36">
              <a:extLst>
                <a:ext uri="{FF2B5EF4-FFF2-40B4-BE49-F238E27FC236}">
                  <a16:creationId xmlns:a16="http://schemas.microsoft.com/office/drawing/2014/main" id="{15DF55AD-F834-9347-9E93-6BEEA3FBCAB3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184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912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lvl="0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130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210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065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/ 1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4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51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 userDrawn="1"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12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 userDrawn="1"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18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 userDrawn="1"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333692"/>
            <a:ext cx="6950075" cy="680356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1044316-A55F-4672-890E-8E36CD55FA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67663" y="333692"/>
            <a:ext cx="4224337" cy="4614736"/>
          </a:xfrm>
          <a:custGeom>
            <a:avLst/>
            <a:gdLst>
              <a:gd name="connsiteX0" fmla="*/ 0 w 4224337"/>
              <a:gd name="connsiteY0" fmla="*/ 0 h 4614736"/>
              <a:gd name="connsiteX1" fmla="*/ 4224337 w 4224337"/>
              <a:gd name="connsiteY1" fmla="*/ 0 h 4614736"/>
              <a:gd name="connsiteX2" fmla="*/ 4224337 w 4224337"/>
              <a:gd name="connsiteY2" fmla="*/ 4206741 h 4614736"/>
              <a:gd name="connsiteX3" fmla="*/ 0 w 4224337"/>
              <a:gd name="connsiteY3" fmla="*/ 4614736 h 461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4614736">
                <a:moveTo>
                  <a:pt x="0" y="0"/>
                </a:moveTo>
                <a:lnTo>
                  <a:pt x="4224337" y="0"/>
                </a:lnTo>
                <a:lnTo>
                  <a:pt x="4224337" y="4206741"/>
                </a:lnTo>
                <a:lnTo>
                  <a:pt x="0" y="461473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66707-4BCC-41E0-BEB4-0622C3F345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39265"/>
            <a:ext cx="6842125" cy="2357331"/>
          </a:xfrm>
        </p:spPr>
        <p:txBody>
          <a:bodyPr anchor="ctr">
            <a:normAutofit/>
          </a:bodyPr>
          <a:lstStyle>
            <a:lvl1pPr marL="457200" indent="-457200">
              <a:buFont typeface="+mj-lt"/>
              <a:buAutoNum type="arabicPeriod"/>
              <a:defRPr sz="2400" baseline="0"/>
            </a:lvl1pPr>
            <a:lvl2pPr marL="358775" indent="0">
              <a:buFont typeface="+mj-lt"/>
              <a:buNone/>
              <a:defRPr sz="2400"/>
            </a:lvl2pPr>
            <a:lvl3pPr marL="457200" indent="-457200">
              <a:buFont typeface="+mj-lt"/>
              <a:buAutoNum type="arabicPeriod"/>
              <a:defRPr sz="2400"/>
            </a:lvl3pPr>
            <a:lvl4pPr marL="457200" indent="-457200">
              <a:buFont typeface="+mj-lt"/>
              <a:buAutoNum type="arabicPeriod"/>
              <a:defRPr sz="2400"/>
            </a:lvl4pPr>
            <a:lvl5pPr marL="457200" indent="-457200">
              <a:buFont typeface="+mj-lt"/>
              <a:buAutoNum type="arabicPeriod"/>
              <a:defRPr sz="24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81933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/ 2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99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52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B70AA37-E0FC-4DDD-83BC-51CD76943BD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67663" y="1760434"/>
            <a:ext cx="4224337" cy="3187994"/>
          </a:xfrm>
          <a:custGeom>
            <a:avLst/>
            <a:gdLst>
              <a:gd name="connsiteX0" fmla="*/ 4224337 w 4224337"/>
              <a:gd name="connsiteY0" fmla="*/ 0 h 3187994"/>
              <a:gd name="connsiteX1" fmla="*/ 4224337 w 4224337"/>
              <a:gd name="connsiteY1" fmla="*/ 2779999 h 3187994"/>
              <a:gd name="connsiteX2" fmla="*/ 0 w 4224337"/>
              <a:gd name="connsiteY2" fmla="*/ 3187994 h 3187994"/>
              <a:gd name="connsiteX3" fmla="*/ 0 w 4224337"/>
              <a:gd name="connsiteY3" fmla="*/ 407995 h 3187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3187994">
                <a:moveTo>
                  <a:pt x="4224337" y="0"/>
                </a:moveTo>
                <a:lnTo>
                  <a:pt x="4224337" y="2779999"/>
                </a:lnTo>
                <a:lnTo>
                  <a:pt x="0" y="3187994"/>
                </a:lnTo>
                <a:lnTo>
                  <a:pt x="0" y="40799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13FAB4FD-6DEF-43B5-849A-C9540A5EA47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67663" y="333693"/>
            <a:ext cx="4224337" cy="1556209"/>
          </a:xfrm>
          <a:custGeom>
            <a:avLst/>
            <a:gdLst>
              <a:gd name="connsiteX0" fmla="*/ 0 w 4224337"/>
              <a:gd name="connsiteY0" fmla="*/ 0 h 1556209"/>
              <a:gd name="connsiteX1" fmla="*/ 4224337 w 4224337"/>
              <a:gd name="connsiteY1" fmla="*/ 0 h 1556209"/>
              <a:gd name="connsiteX2" fmla="*/ 4224337 w 4224337"/>
              <a:gd name="connsiteY2" fmla="*/ 1148214 h 1556209"/>
              <a:gd name="connsiteX3" fmla="*/ 0 w 4224337"/>
              <a:gd name="connsiteY3" fmla="*/ 1556209 h 1556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1556209">
                <a:moveTo>
                  <a:pt x="0" y="0"/>
                </a:moveTo>
                <a:lnTo>
                  <a:pt x="4224337" y="0"/>
                </a:lnTo>
                <a:lnTo>
                  <a:pt x="4224337" y="1148214"/>
                </a:lnTo>
                <a:lnTo>
                  <a:pt x="0" y="155620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 userDrawn="1"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12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 userDrawn="1"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18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 userDrawn="1"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333692"/>
            <a:ext cx="6950075" cy="680356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66707-4BCC-41E0-BEB4-0622C3F345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3033264"/>
            <a:ext cx="6842125" cy="369332"/>
          </a:xfrm>
        </p:spPr>
        <p:txBody>
          <a:bodyPr anchor="ctr">
            <a:spAutoFit/>
          </a:bodyPr>
          <a:lstStyle>
            <a:lvl1pPr marL="457200" indent="-457200">
              <a:buFont typeface="+mj-lt"/>
              <a:buAutoNum type="arabicPeriod"/>
              <a:defRPr sz="2400" baseline="0"/>
            </a:lvl1pPr>
            <a:lvl2pPr marL="358775" indent="0">
              <a:buFont typeface="+mj-lt"/>
              <a:buNone/>
              <a:defRPr sz="2400"/>
            </a:lvl2pPr>
            <a:lvl3pPr marL="457200" indent="-457200">
              <a:buFont typeface="+mj-lt"/>
              <a:buAutoNum type="arabicPeriod"/>
              <a:defRPr sz="2400"/>
            </a:lvl3pPr>
            <a:lvl4pPr marL="457200" indent="-457200">
              <a:buFont typeface="+mj-lt"/>
              <a:buAutoNum type="arabicPeriod"/>
              <a:defRPr sz="2400"/>
            </a:lvl4pPr>
            <a:lvl5pPr marL="457200" indent="-457200">
              <a:buFont typeface="+mj-lt"/>
              <a:buAutoNum type="arabicPeriod"/>
              <a:defRPr sz="24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4064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652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37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Rechteck 9">
            <a:extLst>
              <a:ext uri="{FF2B5EF4-FFF2-40B4-BE49-F238E27FC236}">
                <a16:creationId xmlns:a16="http://schemas.microsoft.com/office/drawing/2014/main" id="{FAF66208-BE51-4383-B61E-7C1B1F88E877}"/>
              </a:ext>
            </a:extLst>
          </p:cNvPr>
          <p:cNvSpPr/>
          <p:nvPr userDrawn="1"/>
        </p:nvSpPr>
        <p:spPr>
          <a:xfrm>
            <a:off x="353291" y="336550"/>
            <a:ext cx="11485419" cy="618807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lang="de-DE" kern="0" dirty="0">
              <a:solidFill>
                <a:srgbClr val="FFFFFF"/>
              </a:solidFill>
              <a:latin typeface="Arial Regular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563CB5D8-D2C9-495A-93FD-C17AF9B306F0}"/>
              </a:ext>
            </a:extLst>
          </p:cNvPr>
          <p:cNvSpPr/>
          <p:nvPr userDrawn="1"/>
        </p:nvSpPr>
        <p:spPr>
          <a:xfrm>
            <a:off x="8475451" y="3886646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>
              <a:alpha val="23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A57404-7CC7-4DE1-B6B1-1CE4EC33F2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92413" y="2815748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9442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A4A3A4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110" userDrawn="1">
          <p15:clr>
            <a:srgbClr val="F26B43"/>
          </p15:clr>
        </p15:guide>
        <p15:guide id="9" pos="226" userDrawn="1">
          <p15:clr>
            <a:srgbClr val="F26B43"/>
          </p15:clr>
        </p15:guide>
        <p15:guide id="10" pos="7452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0E0C0A1-9375-4F36-B71D-95DD66E97E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4113514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094" name="think-cell Folie" r:id="rId50" imgW="473" imgH="476" progId="TCLayout.ActiveDocument.1">
                  <p:embed/>
                </p:oleObj>
              </mc:Choice>
              <mc:Fallback>
                <p:oleObj name="think-cell Folie" r:id="rId50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0E0C0A1-9375-4F36-B71D-95DD66E97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D4D0082-41DB-43CC-9120-28B10235E010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DEAAE901-054D-41AA-B6A8-B0DE66A43531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25DFA70-0488-4795-A917-E980F8210260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19EA8786-E979-42F3-A5BB-26AF6CF9C60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57">
              <a:extLst>
                <a:ext uri="{FF2B5EF4-FFF2-40B4-BE49-F238E27FC236}">
                  <a16:creationId xmlns:a16="http://schemas.microsoft.com/office/drawing/2014/main" id="{9DC62BE5-38F4-491A-A8B5-17BBD1C36C3B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noProof="0">
                <a:solidFill>
                  <a:schemeClr val="bg1"/>
                </a:solidFill>
              </a:endParaRPr>
            </a:p>
          </p:txBody>
        </p:sp>
      </p:grp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F5271990-9DBD-4A7E-9EAB-D14ED5AB6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  <a:prstGeom prst="rect">
            <a:avLst/>
          </a:prstGeom>
          <a:noFill/>
        </p:spPr>
        <p:txBody>
          <a:bodyPr vert="horz" wrap="square" lIns="144000" tIns="0" rIns="144000" bIns="0" rtlCol="0" anchor="ctr">
            <a:normAutofit/>
          </a:bodyPr>
          <a:lstStyle/>
          <a:p>
            <a:r>
              <a:rPr lang="de-DE" noProof="0"/>
              <a:t>Tit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9B4537D-9875-4949-B8E3-5C5D65F896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763" y="6510334"/>
            <a:ext cx="187552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6101334-2212-47E5-96F0-086CB39DE767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738C50A1-844A-4A6E-A7A4-153602C530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0509" y="6511755"/>
            <a:ext cx="7526083" cy="2448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l">
              <a:defRPr sz="800" baseline="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NEXT Farming</a:t>
            </a:r>
            <a:endParaRPr lang="de-DE" noProof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681A92B-F880-459D-A1CB-D2A6791E0F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1196974"/>
            <a:ext cx="10658475" cy="52562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Ebene 1</a:t>
            </a:r>
          </a:p>
          <a:p>
            <a:pPr lvl="1"/>
            <a:r>
              <a:rPr lang="de-DE" noProof="0" dirty="0"/>
              <a:t>Ebene 2</a:t>
            </a:r>
          </a:p>
          <a:p>
            <a:pPr lvl="2"/>
            <a:r>
              <a:rPr lang="de-DE" noProof="0" dirty="0"/>
              <a:t>Ebene 3</a:t>
            </a:r>
          </a:p>
          <a:p>
            <a:pPr lvl="3"/>
            <a:r>
              <a:rPr lang="de-DE" noProof="0" dirty="0"/>
              <a:t>Ebene 4</a:t>
            </a:r>
          </a:p>
          <a:p>
            <a:pPr lvl="4"/>
            <a:r>
              <a:rPr lang="de-DE" noProof="0" dirty="0"/>
              <a:t>Ebene 5</a:t>
            </a:r>
          </a:p>
        </p:txBody>
      </p:sp>
    </p:spTree>
    <p:extLst>
      <p:ext uri="{BB962C8B-B14F-4D97-AF65-F5344CB8AC3E}">
        <p14:creationId xmlns:p14="http://schemas.microsoft.com/office/powerpoint/2010/main" val="3306566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92" r:id="rId2"/>
    <p:sldLayoutId id="2147483964" r:id="rId3"/>
    <p:sldLayoutId id="2147483965" r:id="rId4"/>
    <p:sldLayoutId id="2147483997" r:id="rId5"/>
    <p:sldLayoutId id="2147483998" r:id="rId6"/>
    <p:sldLayoutId id="2147483972" r:id="rId7"/>
    <p:sldLayoutId id="2147483973" r:id="rId8"/>
    <p:sldLayoutId id="2147483969" r:id="rId9"/>
    <p:sldLayoutId id="2147483970" r:id="rId10"/>
    <p:sldLayoutId id="2147483971" r:id="rId11"/>
    <p:sldLayoutId id="2147483984" r:id="rId12"/>
    <p:sldLayoutId id="2147483985" r:id="rId13"/>
    <p:sldLayoutId id="2147483947" r:id="rId14"/>
    <p:sldLayoutId id="2147483948" r:id="rId15"/>
    <p:sldLayoutId id="2147483951" r:id="rId16"/>
    <p:sldLayoutId id="2147483959" r:id="rId17"/>
    <p:sldLayoutId id="2147483952" r:id="rId18"/>
    <p:sldLayoutId id="2147483953" r:id="rId19"/>
    <p:sldLayoutId id="2147483954" r:id="rId20"/>
    <p:sldLayoutId id="2147483960" r:id="rId21"/>
    <p:sldLayoutId id="2147483961" r:id="rId22"/>
    <p:sldLayoutId id="2147483962" r:id="rId23"/>
    <p:sldLayoutId id="2147483949" r:id="rId24"/>
    <p:sldLayoutId id="2147483950" r:id="rId25"/>
    <p:sldLayoutId id="2147483955" r:id="rId26"/>
    <p:sldLayoutId id="2147483956" r:id="rId27"/>
    <p:sldLayoutId id="2147483957" r:id="rId28"/>
    <p:sldLayoutId id="2147483958" r:id="rId29"/>
    <p:sldLayoutId id="2147483987" r:id="rId30"/>
    <p:sldLayoutId id="2147483974" r:id="rId31"/>
    <p:sldLayoutId id="2147483982" r:id="rId32"/>
    <p:sldLayoutId id="2147483988" r:id="rId33"/>
    <p:sldLayoutId id="2147483989" r:id="rId34"/>
    <p:sldLayoutId id="2147483990" r:id="rId35"/>
    <p:sldLayoutId id="2147483991" r:id="rId36"/>
    <p:sldLayoutId id="2147483975" r:id="rId37"/>
    <p:sldLayoutId id="2147483976" r:id="rId38"/>
    <p:sldLayoutId id="2147483977" r:id="rId39"/>
    <p:sldLayoutId id="2147483979" r:id="rId40"/>
    <p:sldLayoutId id="2147483980" r:id="rId41"/>
    <p:sldLayoutId id="2147483981" r:id="rId42"/>
    <p:sldLayoutId id="2147483967" r:id="rId43"/>
    <p:sldLayoutId id="2147483968" r:id="rId4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8775" indent="-3587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&gt;"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bg1">
            <a:lumMod val="65000"/>
          </a:schemeClr>
        </a:buClr>
        <a:buFont typeface="Arial" panose="020B0604020202020204" pitchFamily="34" charset="0"/>
        <a:buChar char="&gt;"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36036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SzPct val="150000"/>
        <a:buFontTx/>
        <a:buBlip>
          <a:blip r:embed="rId52"/>
        </a:buBlip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b="1" kern="600" cap="none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40" baseline="0">
          <a:solidFill>
            <a:schemeClr val="accent6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483" userDrawn="1">
          <p15:clr>
            <a:srgbClr val="F26B43"/>
          </p15:clr>
        </p15:guide>
        <p15:guide id="3" pos="7197" userDrawn="1">
          <p15:clr>
            <a:srgbClr val="F26B43"/>
          </p15:clr>
        </p15:guide>
        <p15:guide id="4" orient="horz" pos="754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5.png"/><Relationship Id="rId2" Type="http://schemas.openxmlformats.org/officeDocument/2006/relationships/tags" Target="../tags/tag95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7.png"/><Relationship Id="rId2" Type="http://schemas.openxmlformats.org/officeDocument/2006/relationships/tags" Target="../tags/tag96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9.jpg"/><Relationship Id="rId2" Type="http://schemas.openxmlformats.org/officeDocument/2006/relationships/tags" Target="../tags/tag9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0.png"/><Relationship Id="rId2" Type="http://schemas.openxmlformats.org/officeDocument/2006/relationships/tags" Target="../tags/tag98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4.emf"/><Relationship Id="rId2" Type="http://schemas.openxmlformats.org/officeDocument/2006/relationships/tags" Target="../tags/tag99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4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55BFC-D8EA-2441-B9D0-D467E4E5A4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Use</a:t>
            </a:r>
            <a:r>
              <a:rPr lang="de-DE" dirty="0" smtClean="0"/>
              <a:t> Case „Gülletechnik“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F454-1506-B544-A66A-A784EF3B83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2481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42179F7-712C-49B9-931A-73E40D9148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9022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901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42179F7-712C-49B9-931A-73E40D914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C87664-6921-4362-9C9C-C3F94B863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</p:spPr>
        <p:txBody>
          <a:bodyPr/>
          <a:lstStyle/>
          <a:p>
            <a:pPr>
              <a:defRPr/>
            </a:pPr>
            <a:r>
              <a:rPr lang="de-DE" kern="0" dirty="0" smtClean="0">
                <a:latin typeface="Arial Regular"/>
              </a:rPr>
              <a:t>Wirtschaftsdünger </a:t>
            </a:r>
            <a:endParaRPr lang="de-DE" kern="0" dirty="0">
              <a:latin typeface="Arial Regular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D8DBCC-14F7-4660-954A-E9D0165FCFB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57" name="Freihandform: Form 56">
            <a:extLst>
              <a:ext uri="{FF2B5EF4-FFF2-40B4-BE49-F238E27FC236}">
                <a16:creationId xmlns:a16="http://schemas.microsoft.com/office/drawing/2014/main" id="{855B3571-A52B-9942-928E-BB0BDE5A584A}"/>
              </a:ext>
            </a:extLst>
          </p:cNvPr>
          <p:cNvSpPr/>
          <p:nvPr/>
        </p:nvSpPr>
        <p:spPr>
          <a:xfrm>
            <a:off x="4547978" y="2428279"/>
            <a:ext cx="1548000" cy="890029"/>
          </a:xfrm>
          <a:prstGeom prst="chevron">
            <a:avLst>
              <a:gd name="adj" fmla="val 41811"/>
            </a:avLst>
          </a:prstGeom>
          <a:solidFill>
            <a:schemeClr val="tx2"/>
          </a:solidFill>
          <a:ln>
            <a:noFill/>
          </a:ln>
        </p:spPr>
        <p:txBody>
          <a:bodyPr vert="horz" wrap="square" lIns="0" tIns="72000" rIns="0" bIns="72000" rtlCol="0" anchor="ctr">
            <a:no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defRPr/>
            </a:pPr>
            <a:r>
              <a:rPr lang="de-DE" sz="1000" kern="0" dirty="0">
                <a:latin typeface="Arial Regular"/>
              </a:rPr>
              <a:t>Erstellung einer </a:t>
            </a:r>
            <a:r>
              <a:rPr lang="de-DE" sz="1000" kern="0" dirty="0" smtClean="0">
                <a:latin typeface="Arial Regular"/>
              </a:rPr>
              <a:t>Düngebedarfs-ermittlung</a:t>
            </a:r>
            <a:endParaRPr lang="de-DE" sz="1000" kern="0" dirty="0">
              <a:latin typeface="Arial Regular"/>
            </a:endParaRPr>
          </a:p>
        </p:txBody>
      </p:sp>
      <p:sp>
        <p:nvSpPr>
          <p:cNvPr id="63" name="Freihandform: Form 56">
            <a:extLst>
              <a:ext uri="{FF2B5EF4-FFF2-40B4-BE49-F238E27FC236}">
                <a16:creationId xmlns:a16="http://schemas.microsoft.com/office/drawing/2014/main" id="{63214EDB-E937-B04D-A150-2A1BA6ED4D31}"/>
              </a:ext>
            </a:extLst>
          </p:cNvPr>
          <p:cNvSpPr/>
          <p:nvPr/>
        </p:nvSpPr>
        <p:spPr>
          <a:xfrm>
            <a:off x="5903538" y="2428279"/>
            <a:ext cx="1548000" cy="890029"/>
          </a:xfrm>
          <a:prstGeom prst="chevron">
            <a:avLst>
              <a:gd name="adj" fmla="val 41811"/>
            </a:avLst>
          </a:prstGeom>
          <a:solidFill>
            <a:schemeClr val="tx2"/>
          </a:solidFill>
          <a:ln>
            <a:noFill/>
          </a:ln>
        </p:spPr>
        <p:txBody>
          <a:bodyPr vert="horz" wrap="square" lIns="0" tIns="72000" rIns="0" bIns="72000" rtlCol="0" anchor="ctr">
            <a:no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defRPr/>
            </a:pPr>
            <a:r>
              <a:rPr lang="de-DE" sz="1000" kern="0" dirty="0" smtClean="0">
                <a:latin typeface="Arial Regular"/>
                <a:ea typeface="+mj-ea"/>
                <a:cs typeface="+mj-cs"/>
              </a:rPr>
              <a:t>Erstellung einer Düngemaßnahme (Planung)</a:t>
            </a:r>
            <a:endParaRPr lang="de-DE" sz="1000" kern="0" dirty="0">
              <a:latin typeface="Arial Regular"/>
              <a:ea typeface="+mj-ea"/>
              <a:cs typeface="+mj-cs"/>
            </a:endParaRPr>
          </a:p>
        </p:txBody>
      </p:sp>
      <p:sp>
        <p:nvSpPr>
          <p:cNvPr id="65" name="Freihandform: Form 56">
            <a:extLst>
              <a:ext uri="{FF2B5EF4-FFF2-40B4-BE49-F238E27FC236}">
                <a16:creationId xmlns:a16="http://schemas.microsoft.com/office/drawing/2014/main" id="{BFEE6F20-BB9D-2649-AD7C-240D9E299D49}"/>
              </a:ext>
            </a:extLst>
          </p:cNvPr>
          <p:cNvSpPr/>
          <p:nvPr/>
        </p:nvSpPr>
        <p:spPr>
          <a:xfrm>
            <a:off x="1821599" y="2439023"/>
            <a:ext cx="1548000" cy="890029"/>
          </a:xfrm>
          <a:prstGeom prst="homePlate">
            <a:avLst>
              <a:gd name="adj" fmla="val 41023"/>
            </a:avLst>
          </a:prstGeom>
          <a:solidFill>
            <a:schemeClr val="tx2"/>
          </a:solidFill>
          <a:ln>
            <a:noFill/>
          </a:ln>
        </p:spPr>
        <p:txBody>
          <a:bodyPr vert="horz" wrap="square" lIns="0" tIns="72000" rIns="0" bIns="72000" rtlCol="0" anchor="ctr">
            <a:no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defRPr/>
            </a:pPr>
            <a:r>
              <a:rPr lang="de-DE" sz="1000" kern="0" dirty="0">
                <a:latin typeface="Arial Regular"/>
              </a:rPr>
              <a:t>Durchführung einer </a:t>
            </a:r>
            <a:r>
              <a:rPr lang="de-DE" sz="1000" kern="0" dirty="0" smtClean="0">
                <a:latin typeface="Arial Regular"/>
              </a:rPr>
              <a:t>Wirtschaftsdünger-analyse</a:t>
            </a:r>
            <a:endParaRPr lang="de-DE" sz="1000" kern="0" dirty="0">
              <a:latin typeface="Arial Regular"/>
            </a:endParaRPr>
          </a:p>
        </p:txBody>
      </p:sp>
      <p:sp>
        <p:nvSpPr>
          <p:cNvPr id="66" name="Freihandform: Form 56">
            <a:extLst>
              <a:ext uri="{FF2B5EF4-FFF2-40B4-BE49-F238E27FC236}">
                <a16:creationId xmlns:a16="http://schemas.microsoft.com/office/drawing/2014/main" id="{8155C002-9A57-734B-BD10-2D37DE567060}"/>
              </a:ext>
            </a:extLst>
          </p:cNvPr>
          <p:cNvSpPr/>
          <p:nvPr/>
        </p:nvSpPr>
        <p:spPr>
          <a:xfrm>
            <a:off x="3177159" y="2428279"/>
            <a:ext cx="1548000" cy="890029"/>
          </a:xfrm>
          <a:prstGeom prst="chevron">
            <a:avLst>
              <a:gd name="adj" fmla="val 41811"/>
            </a:avLst>
          </a:prstGeom>
          <a:solidFill>
            <a:schemeClr val="tx2"/>
          </a:solidFill>
          <a:ln>
            <a:noFill/>
          </a:ln>
        </p:spPr>
        <p:txBody>
          <a:bodyPr vert="horz" wrap="square" lIns="0" tIns="72000" rIns="0" bIns="72000" rtlCol="0" anchor="ctr">
            <a:no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defRPr/>
            </a:pPr>
            <a:r>
              <a:rPr lang="de-DE" sz="1000" kern="0" dirty="0">
                <a:latin typeface="Arial Regular"/>
              </a:rPr>
              <a:t>Anlage eines Stammdatensatzes mit dem Analyseergebnis (manuell)</a:t>
            </a:r>
          </a:p>
        </p:txBody>
      </p:sp>
      <p:sp>
        <p:nvSpPr>
          <p:cNvPr id="68" name="Rechteck 30">
            <a:extLst>
              <a:ext uri="{FF2B5EF4-FFF2-40B4-BE49-F238E27FC236}">
                <a16:creationId xmlns:a16="http://schemas.microsoft.com/office/drawing/2014/main" id="{D0B0459B-7C99-1B48-AE74-BC58E961D948}"/>
              </a:ext>
            </a:extLst>
          </p:cNvPr>
          <p:cNvSpPr>
            <a:spLocks/>
          </p:cNvSpPr>
          <p:nvPr/>
        </p:nvSpPr>
        <p:spPr bwMode="gray">
          <a:xfrm>
            <a:off x="890571" y="1465802"/>
            <a:ext cx="8635813" cy="115416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numCol="1" spcCol="72000" rtlCol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  <a:buClr>
                <a:srgbClr val="3C464B"/>
              </a:buClr>
            </a:pPr>
            <a:r>
              <a:rPr lang="de-DE" sz="1100" b="1" dirty="0" smtClean="0">
                <a:solidFill>
                  <a:schemeClr val="accent6"/>
                </a:solidFill>
                <a:ea typeface="Arial Unicode MS"/>
                <a:cs typeface="Arial" panose="020B0604020202020204" pitchFamily="34" charset="0"/>
              </a:rPr>
              <a:t>Zielstellung: </a:t>
            </a:r>
            <a:r>
              <a:rPr lang="de-DE" sz="1100" b="1" dirty="0" err="1" smtClean="0">
                <a:solidFill>
                  <a:schemeClr val="accent6"/>
                </a:solidFill>
                <a:ea typeface="Arial Unicode MS"/>
                <a:cs typeface="Arial" panose="020B0604020202020204" pitchFamily="34" charset="0"/>
              </a:rPr>
              <a:t>DüV</a:t>
            </a:r>
            <a:r>
              <a:rPr lang="de-DE" sz="1100" b="1" dirty="0" smtClean="0">
                <a:solidFill>
                  <a:schemeClr val="accent6"/>
                </a:solidFill>
                <a:ea typeface="Arial Unicode MS"/>
                <a:cs typeface="Arial" panose="020B0604020202020204" pitchFamily="34" charset="0"/>
              </a:rPr>
              <a:t> konforme Ausbringung und Dokumentation von Wirtschaftsdünger – Alles aus einer Hand.</a:t>
            </a:r>
          </a:p>
          <a:p>
            <a:pPr>
              <a:spcBef>
                <a:spcPts val="0"/>
              </a:spcBef>
              <a:spcAft>
                <a:spcPts val="600"/>
              </a:spcAft>
              <a:buClr>
                <a:srgbClr val="3C464B"/>
              </a:buClr>
            </a:pPr>
            <a:endParaRPr lang="de-DE" sz="1100" b="1" dirty="0">
              <a:solidFill>
                <a:schemeClr val="accent6"/>
              </a:solidFill>
              <a:ea typeface="Arial Unicode MS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Clr>
                <a:srgbClr val="3C464B"/>
              </a:buClr>
            </a:pPr>
            <a:endParaRPr lang="de-DE" sz="1100" b="1" dirty="0" smtClean="0">
              <a:solidFill>
                <a:schemeClr val="accent6"/>
              </a:solidFill>
              <a:ea typeface="Arial Unicode MS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Clr>
                <a:srgbClr val="3C464B"/>
              </a:buClr>
            </a:pPr>
            <a:r>
              <a:rPr lang="de-DE" sz="1100" b="1" dirty="0" smtClean="0">
                <a:solidFill>
                  <a:schemeClr val="accent6"/>
                </a:solidFill>
                <a:ea typeface="Arial Unicode MS"/>
                <a:cs typeface="Arial" panose="020B0604020202020204" pitchFamily="34" charset="0"/>
              </a:rPr>
              <a:t>NEXT Farming kann zu jedem Prozessschritt notwendige Produkte liefern</a:t>
            </a:r>
            <a:endParaRPr lang="de-DE" sz="1100" b="1" dirty="0">
              <a:solidFill>
                <a:schemeClr val="accent6"/>
              </a:solidFill>
              <a:ea typeface="Arial Unicode MS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Clr>
                <a:srgbClr val="3C464B"/>
              </a:buClr>
            </a:pPr>
            <a:endParaRPr lang="de-DE" sz="1100" b="1" dirty="0">
              <a:solidFill>
                <a:schemeClr val="accent6"/>
              </a:solidFill>
              <a:ea typeface="Arial Unicode MS"/>
              <a:cs typeface="Arial" panose="020B0604020202020204" pitchFamily="34" charset="0"/>
            </a:endParaRPr>
          </a:p>
        </p:txBody>
      </p:sp>
      <p:sp>
        <p:nvSpPr>
          <p:cNvPr id="70" name="Foliennummernplatzhalter 2">
            <a:extLst>
              <a:ext uri="{FF2B5EF4-FFF2-40B4-BE49-F238E27FC236}">
                <a16:creationId xmlns:a16="http://schemas.microsoft.com/office/drawing/2014/main" id="{49F9A8A9-4175-B64A-A67C-2A3B8F31E0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66763" y="6571889"/>
            <a:ext cx="187552" cy="123111"/>
          </a:xfrm>
        </p:spPr>
        <p:txBody>
          <a:bodyPr/>
          <a:lstStyle/>
          <a:p>
            <a:fld id="{E6101334-2212-47E5-96F0-086CB39DE76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27E5EAE9-E063-4BAD-A25F-5FAC27F567E6}"/>
              </a:ext>
            </a:extLst>
          </p:cNvPr>
          <p:cNvSpPr/>
          <p:nvPr/>
        </p:nvSpPr>
        <p:spPr>
          <a:xfrm>
            <a:off x="5139388" y="6177644"/>
            <a:ext cx="7052612" cy="680356"/>
          </a:xfrm>
          <a:custGeom>
            <a:avLst/>
            <a:gdLst>
              <a:gd name="connsiteX0" fmla="*/ 7052612 w 7052612"/>
              <a:gd name="connsiteY0" fmla="*/ 0 h 680356"/>
              <a:gd name="connsiteX1" fmla="*/ 7052612 w 7052612"/>
              <a:gd name="connsiteY1" fmla="*/ 256482 h 680356"/>
              <a:gd name="connsiteX2" fmla="*/ 2658708 w 7052612"/>
              <a:gd name="connsiteY2" fmla="*/ 680356 h 680356"/>
              <a:gd name="connsiteX3" fmla="*/ 0 w 7052612"/>
              <a:gd name="connsiteY3" fmla="*/ 680356 h 680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52612" h="680356">
                <a:moveTo>
                  <a:pt x="7052612" y="0"/>
                </a:moveTo>
                <a:lnTo>
                  <a:pt x="7052612" y="256482"/>
                </a:lnTo>
                <a:lnTo>
                  <a:pt x="2658708" y="680356"/>
                </a:lnTo>
                <a:lnTo>
                  <a:pt x="0" y="680356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0" name="Freihandform: Form 56">
            <a:extLst>
              <a:ext uri="{FF2B5EF4-FFF2-40B4-BE49-F238E27FC236}">
                <a16:creationId xmlns:a16="http://schemas.microsoft.com/office/drawing/2014/main" id="{63214EDB-E937-B04D-A150-2A1BA6ED4D31}"/>
              </a:ext>
            </a:extLst>
          </p:cNvPr>
          <p:cNvSpPr/>
          <p:nvPr/>
        </p:nvSpPr>
        <p:spPr>
          <a:xfrm>
            <a:off x="7274357" y="2439023"/>
            <a:ext cx="1548000" cy="890029"/>
          </a:xfrm>
          <a:prstGeom prst="chevron">
            <a:avLst>
              <a:gd name="adj" fmla="val 41811"/>
            </a:avLst>
          </a:prstGeom>
          <a:solidFill>
            <a:schemeClr val="tx2"/>
          </a:solidFill>
          <a:ln>
            <a:noFill/>
          </a:ln>
        </p:spPr>
        <p:txBody>
          <a:bodyPr vert="horz" wrap="square" lIns="0" tIns="72000" rIns="0" bIns="72000" rtlCol="0" anchor="ctr">
            <a:no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defRPr/>
            </a:pPr>
            <a:r>
              <a:rPr lang="de-DE" sz="1000" kern="0" dirty="0" smtClean="0">
                <a:latin typeface="Arial Regular"/>
                <a:ea typeface="+mj-ea"/>
                <a:cs typeface="+mj-cs"/>
              </a:rPr>
              <a:t>Ausbringung</a:t>
            </a:r>
            <a:endParaRPr lang="de-DE" sz="1000" kern="0" dirty="0">
              <a:latin typeface="Arial Regular"/>
              <a:ea typeface="+mj-ea"/>
              <a:cs typeface="+mj-cs"/>
            </a:endParaRPr>
          </a:p>
        </p:txBody>
      </p:sp>
      <p:sp>
        <p:nvSpPr>
          <p:cNvPr id="21" name="Freihandform: Form 56">
            <a:extLst>
              <a:ext uri="{FF2B5EF4-FFF2-40B4-BE49-F238E27FC236}">
                <a16:creationId xmlns:a16="http://schemas.microsoft.com/office/drawing/2014/main" id="{63214EDB-E937-B04D-A150-2A1BA6ED4D31}"/>
              </a:ext>
            </a:extLst>
          </p:cNvPr>
          <p:cNvSpPr/>
          <p:nvPr/>
        </p:nvSpPr>
        <p:spPr>
          <a:xfrm>
            <a:off x="8629627" y="2449767"/>
            <a:ext cx="1548000" cy="890029"/>
          </a:xfrm>
          <a:prstGeom prst="chevron">
            <a:avLst>
              <a:gd name="adj" fmla="val 41811"/>
            </a:avLst>
          </a:prstGeom>
          <a:solidFill>
            <a:schemeClr val="tx2"/>
          </a:solidFill>
          <a:ln>
            <a:noFill/>
          </a:ln>
        </p:spPr>
        <p:txBody>
          <a:bodyPr vert="horz" wrap="square" lIns="0" tIns="72000" rIns="0" bIns="72000" rtlCol="0" anchor="ctr">
            <a:no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defRPr/>
            </a:pPr>
            <a:r>
              <a:rPr lang="de-DE" sz="1000" kern="0" dirty="0" smtClean="0">
                <a:latin typeface="Arial Regular"/>
                <a:ea typeface="+mj-ea"/>
                <a:cs typeface="+mj-cs"/>
              </a:rPr>
              <a:t>Doku-</a:t>
            </a:r>
            <a:r>
              <a:rPr lang="de-DE" sz="1000" kern="0" dirty="0" err="1" smtClean="0">
                <a:latin typeface="Arial Regular"/>
                <a:ea typeface="+mj-ea"/>
                <a:cs typeface="+mj-cs"/>
              </a:rPr>
              <a:t>mentation</a:t>
            </a:r>
            <a:endParaRPr lang="de-DE" sz="1000" kern="0" dirty="0">
              <a:latin typeface="Arial Regular"/>
              <a:ea typeface="+mj-ea"/>
              <a:cs typeface="+mj-cs"/>
            </a:endParaRPr>
          </a:p>
        </p:txBody>
      </p:sp>
      <p:grpSp>
        <p:nvGrpSpPr>
          <p:cNvPr id="26" name="Group 39">
            <a:extLst>
              <a:ext uri="{FF2B5EF4-FFF2-40B4-BE49-F238E27FC236}">
                <a16:creationId xmlns:a16="http://schemas.microsoft.com/office/drawing/2014/main" id="{7682EA71-0038-1549-A618-68B188C67C8C}"/>
              </a:ext>
            </a:extLst>
          </p:cNvPr>
          <p:cNvGrpSpPr/>
          <p:nvPr/>
        </p:nvGrpSpPr>
        <p:grpSpPr>
          <a:xfrm>
            <a:off x="1821599" y="4126620"/>
            <a:ext cx="4595826" cy="1742984"/>
            <a:chOff x="9054620" y="2551474"/>
            <a:chExt cx="1990970" cy="1742984"/>
          </a:xfrm>
        </p:grpSpPr>
        <p:sp>
          <p:nvSpPr>
            <p:cNvPr id="27" name="Rechteck 30">
              <a:extLst>
                <a:ext uri="{FF2B5EF4-FFF2-40B4-BE49-F238E27FC236}">
                  <a16:creationId xmlns:a16="http://schemas.microsoft.com/office/drawing/2014/main" id="{4E1A720B-A3E2-1B4C-87E8-89E85E2E9F75}"/>
                </a:ext>
              </a:extLst>
            </p:cNvPr>
            <p:cNvSpPr>
              <a:spLocks/>
            </p:cNvSpPr>
            <p:nvPr/>
          </p:nvSpPr>
          <p:spPr bwMode="gray">
            <a:xfrm>
              <a:off x="9054621" y="2551474"/>
              <a:ext cx="1990967" cy="41549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600"/>
                </a:spcAft>
                <a:buClr>
                  <a:srgbClr val="3C464B"/>
                </a:buClr>
              </a:pPr>
              <a:r>
                <a:rPr lang="de-DE" sz="1100" b="1" dirty="0" smtClean="0">
                  <a:solidFill>
                    <a:schemeClr val="tx2"/>
                  </a:solidFill>
                  <a:ea typeface="Arial Unicode MS"/>
                  <a:cs typeface="Arial" panose="020B0604020202020204" pitchFamily="34" charset="0"/>
                </a:rPr>
                <a:t>Involvierte Produkte:</a:t>
              </a:r>
              <a:endParaRPr lang="de-DE" sz="1100" b="1" dirty="0">
                <a:solidFill>
                  <a:schemeClr val="tx2"/>
                </a:solidFill>
                <a:ea typeface="Arial Unicode MS"/>
                <a:cs typeface="Arial" panose="020B0604020202020204" pitchFamily="34" charset="0"/>
              </a:endParaRPr>
            </a:p>
            <a:p>
              <a:pPr>
                <a:spcBef>
                  <a:spcPts val="0"/>
                </a:spcBef>
                <a:spcAft>
                  <a:spcPts val="600"/>
                </a:spcAft>
                <a:buClr>
                  <a:srgbClr val="3C464B"/>
                </a:buClr>
              </a:pPr>
              <a:endParaRPr lang="de-DE" sz="1100" b="1" dirty="0">
                <a:solidFill>
                  <a:schemeClr val="tx2"/>
                </a:solidFill>
                <a:ea typeface="Arial Unicode MS"/>
                <a:cs typeface="Arial" panose="020B0604020202020204" pitchFamily="34" charset="0"/>
              </a:endParaRPr>
            </a:p>
          </p:txBody>
        </p:sp>
        <p:sp>
          <p:nvSpPr>
            <p:cNvPr id="28" name="Rechteck 31">
              <a:extLst>
                <a:ext uri="{FF2B5EF4-FFF2-40B4-BE49-F238E27FC236}">
                  <a16:creationId xmlns:a16="http://schemas.microsoft.com/office/drawing/2014/main" id="{6281CF87-85BF-B749-9183-98615FEDAB7B}"/>
                </a:ext>
              </a:extLst>
            </p:cNvPr>
            <p:cNvSpPr>
              <a:spLocks/>
            </p:cNvSpPr>
            <p:nvPr/>
          </p:nvSpPr>
          <p:spPr bwMode="gray">
            <a:xfrm>
              <a:off x="9054620" y="2832519"/>
              <a:ext cx="1990970" cy="146193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marL="358775" lvl="1" indent="-358775" defTabSz="914400">
                <a:spcBef>
                  <a:spcPts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&gt;"/>
                <a:tabLst>
                  <a:tab pos="1255713" algn="r"/>
                </a:tabLst>
                <a:defRPr/>
              </a:pPr>
              <a:r>
                <a:rPr lang="de-DE" altLang="de-DE" sz="1100" kern="6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NEXT Wirtschaftsdüngeranalyse</a:t>
              </a:r>
              <a:endParaRPr lang="de-DE" altLang="de-DE" sz="1100" kern="600" dirty="0">
                <a:solidFill>
                  <a:schemeClr val="tx1"/>
                </a:solidFill>
                <a:cs typeface="Arial" panose="020B0604020202020204" pitchFamily="34" charset="0"/>
              </a:endParaRPr>
            </a:p>
            <a:p>
              <a:pPr marL="358775" lvl="1" indent="-358775" defTabSz="914400">
                <a:spcBef>
                  <a:spcPts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&gt;"/>
                <a:tabLst>
                  <a:tab pos="1255713" algn="r"/>
                </a:tabLst>
                <a:defRPr/>
              </a:pPr>
              <a:r>
                <a:rPr lang="de-DE" altLang="de-DE" sz="1100" kern="6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NEXT Starter Paket</a:t>
              </a:r>
              <a:endParaRPr lang="de-DE" altLang="de-DE" sz="1100" kern="600" dirty="0">
                <a:solidFill>
                  <a:schemeClr val="tx1"/>
                </a:solidFill>
                <a:cs typeface="Arial" panose="020B0604020202020204" pitchFamily="34" charset="0"/>
              </a:endParaRPr>
            </a:p>
            <a:p>
              <a:pPr marL="358775" lvl="1" indent="-358775" defTabSz="914400">
                <a:spcBef>
                  <a:spcPts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&gt;"/>
                <a:tabLst>
                  <a:tab pos="1255713" algn="r"/>
                </a:tabLst>
                <a:defRPr/>
              </a:pPr>
              <a:r>
                <a:rPr lang="de-DE" altLang="de-DE" sz="1100" kern="6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NEXT Düngebedarfsermittlung</a:t>
              </a:r>
            </a:p>
            <a:p>
              <a:pPr marL="358775" lvl="1" indent="-358775" defTabSz="914400">
                <a:spcBef>
                  <a:spcPts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&gt;"/>
                <a:tabLst>
                  <a:tab pos="1255713" algn="r"/>
                </a:tabLst>
                <a:defRPr/>
              </a:pPr>
              <a:r>
                <a:rPr lang="de-DE" altLang="de-DE" sz="1100" kern="6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NEXT Machine Management</a:t>
              </a:r>
              <a:endParaRPr lang="de-DE" altLang="de-DE" sz="1100" kern="600" dirty="0">
                <a:solidFill>
                  <a:schemeClr val="tx1"/>
                </a:solidFill>
                <a:cs typeface="Arial" panose="020B0604020202020204" pitchFamily="34" charset="0"/>
              </a:endParaRPr>
            </a:p>
            <a:p>
              <a:pPr marL="358775" lvl="1" indent="-358775" defTabSz="914400">
                <a:spcBef>
                  <a:spcPts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&gt;"/>
                <a:tabLst>
                  <a:tab pos="1255713" algn="r"/>
                </a:tabLst>
                <a:defRPr/>
              </a:pPr>
              <a:r>
                <a:rPr lang="de-DE" altLang="de-DE" sz="1100" kern="6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NEXT Applikationskartencenter (nur sinnvoll mit NIRS Sensor)</a:t>
              </a:r>
            </a:p>
          </p:txBody>
        </p:sp>
      </p:grpSp>
      <p:sp>
        <p:nvSpPr>
          <p:cNvPr id="19" name="Rechteck 31">
            <a:extLst>
              <a:ext uri="{FF2B5EF4-FFF2-40B4-BE49-F238E27FC236}">
                <a16:creationId xmlns:a16="http://schemas.microsoft.com/office/drawing/2014/main" id="{6281CF87-85BF-B749-9183-98615FEDAB7B}"/>
              </a:ext>
            </a:extLst>
          </p:cNvPr>
          <p:cNvSpPr>
            <a:spLocks/>
          </p:cNvSpPr>
          <p:nvPr/>
        </p:nvSpPr>
        <p:spPr bwMode="gray">
          <a:xfrm>
            <a:off x="6604189" y="4407665"/>
            <a:ext cx="4701120" cy="149271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numCol="1" spcCol="72000" rtlCol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358775" lvl="1" indent="-358775" defTabSz="91440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&gt;"/>
              <a:tabLst>
                <a:tab pos="1255713" algn="r"/>
              </a:tabLst>
              <a:defRPr/>
            </a:pPr>
            <a:r>
              <a:rPr lang="de-DE" altLang="de-DE" sz="1100" kern="600" dirty="0" smtClean="0">
                <a:solidFill>
                  <a:schemeClr val="tx1"/>
                </a:solidFill>
                <a:cs typeface="Arial" panose="020B0604020202020204" pitchFamily="34" charset="0"/>
              </a:rPr>
              <a:t>Prozess auch so für Kunden mit NIRS Sensor möglich! (Vereinzelt gelten die Messungen für die Dokumentation – dann ist keine Wirtschaftsdüngeranalyse nötig)</a:t>
            </a:r>
          </a:p>
          <a:p>
            <a:pPr marL="358775" lvl="1" indent="-358775" defTabSz="91440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&gt;"/>
              <a:tabLst>
                <a:tab pos="1255713" algn="r"/>
              </a:tabLst>
              <a:defRPr/>
            </a:pPr>
            <a:r>
              <a:rPr lang="de-DE" altLang="de-DE" sz="1100" kern="600" dirty="0" smtClean="0">
                <a:solidFill>
                  <a:schemeClr val="tx1"/>
                </a:solidFill>
                <a:cs typeface="Arial" panose="020B0604020202020204" pitchFamily="34" charset="0"/>
              </a:rPr>
              <a:t>NIRS Nachrüstung jederzeit möglich – ohne zusätzliche Investitionen in Software!</a:t>
            </a:r>
          </a:p>
          <a:p>
            <a:pPr marL="358775" lvl="1" indent="-358775" defTabSz="91440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&gt;"/>
              <a:tabLst>
                <a:tab pos="1255713" algn="r"/>
              </a:tabLst>
              <a:defRPr/>
            </a:pPr>
            <a:r>
              <a:rPr lang="de-DE" altLang="de-DE" sz="1100" kern="600" dirty="0" smtClean="0">
                <a:solidFill>
                  <a:schemeClr val="tx1"/>
                </a:solidFill>
                <a:cs typeface="Arial" panose="020B0604020202020204" pitchFamily="34" charset="0"/>
              </a:rPr>
              <a:t>(Falls nach Teilflächen geplant werden will, dann wäre das Applikationskartencenter und </a:t>
            </a:r>
            <a:r>
              <a:rPr lang="de-DE" altLang="de-DE" sz="1100" kern="600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ggf</a:t>
            </a:r>
            <a:r>
              <a:rPr lang="de-DE" altLang="de-DE" sz="1100" kern="600" dirty="0" smtClean="0">
                <a:solidFill>
                  <a:schemeClr val="tx1"/>
                </a:solidFill>
                <a:cs typeface="Arial" panose="020B0604020202020204" pitchFamily="34" charset="0"/>
              </a:rPr>
              <a:t> TF Karten nötig)</a:t>
            </a:r>
          </a:p>
        </p:txBody>
      </p:sp>
    </p:spTree>
    <p:extLst>
      <p:ext uri="{BB962C8B-B14F-4D97-AF65-F5344CB8AC3E}">
        <p14:creationId xmlns:p14="http://schemas.microsoft.com/office/powerpoint/2010/main" val="1183210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42179F7-712C-49B9-931A-73E40D9148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39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42179F7-712C-49B9-931A-73E40D914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C87664-6921-4362-9C9C-C3F94B863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</p:spPr>
        <p:txBody>
          <a:bodyPr/>
          <a:lstStyle/>
          <a:p>
            <a:pPr>
              <a:defRPr/>
            </a:pPr>
            <a:r>
              <a:rPr lang="de-DE" kern="0" dirty="0" smtClean="0">
                <a:latin typeface="Arial Regular"/>
              </a:rPr>
              <a:t>Wirtschaftsdüngeranalyse und Stammdatensatz erzeugen </a:t>
            </a:r>
            <a:endParaRPr lang="de-DE" kern="0" dirty="0">
              <a:latin typeface="Arial Regular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D8DBCC-14F7-4660-954A-E9D0165FCFB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70" name="Foliennummernplatzhalter 2">
            <a:extLst>
              <a:ext uri="{FF2B5EF4-FFF2-40B4-BE49-F238E27FC236}">
                <a16:creationId xmlns:a16="http://schemas.microsoft.com/office/drawing/2014/main" id="{49F9A8A9-4175-B64A-A67C-2A3B8F31E0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66763" y="6571889"/>
            <a:ext cx="187552" cy="123111"/>
          </a:xfrm>
        </p:spPr>
        <p:txBody>
          <a:bodyPr/>
          <a:lstStyle/>
          <a:p>
            <a:fld id="{E6101334-2212-47E5-96F0-086CB39DE76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27E5EAE9-E063-4BAD-A25F-5FAC27F567E6}"/>
              </a:ext>
            </a:extLst>
          </p:cNvPr>
          <p:cNvSpPr/>
          <p:nvPr/>
        </p:nvSpPr>
        <p:spPr>
          <a:xfrm>
            <a:off x="5139388" y="6177644"/>
            <a:ext cx="7052612" cy="680356"/>
          </a:xfrm>
          <a:custGeom>
            <a:avLst/>
            <a:gdLst>
              <a:gd name="connsiteX0" fmla="*/ 7052612 w 7052612"/>
              <a:gd name="connsiteY0" fmla="*/ 0 h 680356"/>
              <a:gd name="connsiteX1" fmla="*/ 7052612 w 7052612"/>
              <a:gd name="connsiteY1" fmla="*/ 256482 h 680356"/>
              <a:gd name="connsiteX2" fmla="*/ 2658708 w 7052612"/>
              <a:gd name="connsiteY2" fmla="*/ 680356 h 680356"/>
              <a:gd name="connsiteX3" fmla="*/ 0 w 7052612"/>
              <a:gd name="connsiteY3" fmla="*/ 680356 h 680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52612" h="680356">
                <a:moveTo>
                  <a:pt x="7052612" y="0"/>
                </a:moveTo>
                <a:lnTo>
                  <a:pt x="7052612" y="256482"/>
                </a:lnTo>
                <a:lnTo>
                  <a:pt x="2658708" y="680356"/>
                </a:lnTo>
                <a:lnTo>
                  <a:pt x="0" y="680356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154" y="1175627"/>
            <a:ext cx="3522721" cy="5262786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19" t="5098" r="1360" b="34745"/>
          <a:stretch/>
        </p:blipFill>
        <p:spPr>
          <a:xfrm>
            <a:off x="4729941" y="2429239"/>
            <a:ext cx="6550429" cy="2452254"/>
          </a:xfrm>
          <a:prstGeom prst="rect">
            <a:avLst/>
          </a:prstGeom>
        </p:spPr>
      </p:pic>
      <p:sp>
        <p:nvSpPr>
          <p:cNvPr id="6" name="Pfeil nach rechts 5"/>
          <p:cNvSpPr/>
          <p:nvPr/>
        </p:nvSpPr>
        <p:spPr>
          <a:xfrm>
            <a:off x="4091869" y="3585553"/>
            <a:ext cx="1604356" cy="673331"/>
          </a:xfrm>
          <a:prstGeom prst="rightArrow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</p:spTree>
    <p:extLst>
      <p:ext uri="{BB962C8B-B14F-4D97-AF65-F5344CB8AC3E}">
        <p14:creationId xmlns:p14="http://schemas.microsoft.com/office/powerpoint/2010/main" val="4197506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42179F7-712C-49B9-931A-73E40D9148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62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42179F7-712C-49B9-931A-73E40D914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C87664-6921-4362-9C9C-C3F94B863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</p:spPr>
        <p:txBody>
          <a:bodyPr/>
          <a:lstStyle/>
          <a:p>
            <a:pPr>
              <a:defRPr/>
            </a:pPr>
            <a:r>
              <a:rPr lang="de-DE" kern="0" dirty="0" smtClean="0">
                <a:latin typeface="Arial Regular"/>
              </a:rPr>
              <a:t>DBE und Maßnahmenplanung</a:t>
            </a:r>
            <a:endParaRPr lang="de-DE" kern="0" dirty="0">
              <a:latin typeface="Arial Regular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D8DBCC-14F7-4660-954A-E9D0165FCFB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70" name="Foliennummernplatzhalter 2">
            <a:extLst>
              <a:ext uri="{FF2B5EF4-FFF2-40B4-BE49-F238E27FC236}">
                <a16:creationId xmlns:a16="http://schemas.microsoft.com/office/drawing/2014/main" id="{49F9A8A9-4175-B64A-A67C-2A3B8F31E0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66763" y="6571889"/>
            <a:ext cx="187552" cy="123111"/>
          </a:xfrm>
        </p:spPr>
        <p:txBody>
          <a:bodyPr/>
          <a:lstStyle/>
          <a:p>
            <a:fld id="{E6101334-2212-47E5-96F0-086CB39DE76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27E5EAE9-E063-4BAD-A25F-5FAC27F567E6}"/>
              </a:ext>
            </a:extLst>
          </p:cNvPr>
          <p:cNvSpPr/>
          <p:nvPr/>
        </p:nvSpPr>
        <p:spPr>
          <a:xfrm>
            <a:off x="5139388" y="6177644"/>
            <a:ext cx="7052612" cy="680356"/>
          </a:xfrm>
          <a:custGeom>
            <a:avLst/>
            <a:gdLst>
              <a:gd name="connsiteX0" fmla="*/ 7052612 w 7052612"/>
              <a:gd name="connsiteY0" fmla="*/ 0 h 680356"/>
              <a:gd name="connsiteX1" fmla="*/ 7052612 w 7052612"/>
              <a:gd name="connsiteY1" fmla="*/ 256482 h 680356"/>
              <a:gd name="connsiteX2" fmla="*/ 2658708 w 7052612"/>
              <a:gd name="connsiteY2" fmla="*/ 680356 h 680356"/>
              <a:gd name="connsiteX3" fmla="*/ 0 w 7052612"/>
              <a:gd name="connsiteY3" fmla="*/ 680356 h 680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52612" h="680356">
                <a:moveTo>
                  <a:pt x="7052612" y="0"/>
                </a:moveTo>
                <a:lnTo>
                  <a:pt x="7052612" y="256482"/>
                </a:lnTo>
                <a:lnTo>
                  <a:pt x="2658708" y="680356"/>
                </a:lnTo>
                <a:lnTo>
                  <a:pt x="0" y="680356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33" y="1289896"/>
            <a:ext cx="4733926" cy="5006144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09" r="22249"/>
          <a:stretch/>
        </p:blipFill>
        <p:spPr>
          <a:xfrm>
            <a:off x="6855671" y="1868763"/>
            <a:ext cx="4569567" cy="4141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271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42179F7-712C-49B9-931A-73E40D9148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986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42179F7-712C-49B9-931A-73E40D914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C87664-6921-4362-9C9C-C3F94B863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</p:spPr>
        <p:txBody>
          <a:bodyPr/>
          <a:lstStyle/>
          <a:p>
            <a:pPr>
              <a:defRPr/>
            </a:pPr>
            <a:r>
              <a:rPr lang="de-DE" kern="0" dirty="0" smtClean="0">
                <a:latin typeface="Arial Regular"/>
              </a:rPr>
              <a:t>Maßnahme</a:t>
            </a:r>
            <a:endParaRPr lang="de-DE" kern="0" dirty="0">
              <a:latin typeface="Arial Regular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D8DBCC-14F7-4660-954A-E9D0165FCFB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70" name="Foliennummernplatzhalter 2">
            <a:extLst>
              <a:ext uri="{FF2B5EF4-FFF2-40B4-BE49-F238E27FC236}">
                <a16:creationId xmlns:a16="http://schemas.microsoft.com/office/drawing/2014/main" id="{49F9A8A9-4175-B64A-A67C-2A3B8F31E0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66763" y="6571889"/>
            <a:ext cx="187552" cy="123111"/>
          </a:xfrm>
        </p:spPr>
        <p:txBody>
          <a:bodyPr/>
          <a:lstStyle/>
          <a:p>
            <a:fld id="{E6101334-2212-47E5-96F0-086CB39DE76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27E5EAE9-E063-4BAD-A25F-5FAC27F567E6}"/>
              </a:ext>
            </a:extLst>
          </p:cNvPr>
          <p:cNvSpPr/>
          <p:nvPr/>
        </p:nvSpPr>
        <p:spPr>
          <a:xfrm>
            <a:off x="5139388" y="6177644"/>
            <a:ext cx="7052612" cy="680356"/>
          </a:xfrm>
          <a:custGeom>
            <a:avLst/>
            <a:gdLst>
              <a:gd name="connsiteX0" fmla="*/ 7052612 w 7052612"/>
              <a:gd name="connsiteY0" fmla="*/ 0 h 680356"/>
              <a:gd name="connsiteX1" fmla="*/ 7052612 w 7052612"/>
              <a:gd name="connsiteY1" fmla="*/ 256482 h 680356"/>
              <a:gd name="connsiteX2" fmla="*/ 2658708 w 7052612"/>
              <a:gd name="connsiteY2" fmla="*/ 680356 h 680356"/>
              <a:gd name="connsiteX3" fmla="*/ 0 w 7052612"/>
              <a:gd name="connsiteY3" fmla="*/ 680356 h 680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52612" h="680356">
                <a:moveTo>
                  <a:pt x="7052612" y="0"/>
                </a:moveTo>
                <a:lnTo>
                  <a:pt x="7052612" y="256482"/>
                </a:lnTo>
                <a:lnTo>
                  <a:pt x="2658708" y="680356"/>
                </a:lnTo>
                <a:lnTo>
                  <a:pt x="0" y="680356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6347" y="1512532"/>
            <a:ext cx="7999306" cy="4500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887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42179F7-712C-49B9-931A-73E40D9148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10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42179F7-712C-49B9-931A-73E40D914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C87664-6921-4362-9C9C-C3F94B863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</p:spPr>
        <p:txBody>
          <a:bodyPr/>
          <a:lstStyle/>
          <a:p>
            <a:pPr>
              <a:defRPr/>
            </a:pPr>
            <a:r>
              <a:rPr lang="de-DE" kern="0" dirty="0" smtClean="0">
                <a:latin typeface="Arial Regular"/>
              </a:rPr>
              <a:t>Dokumentation mit spezifischem Stammdatensatz</a:t>
            </a:r>
            <a:endParaRPr lang="de-DE" kern="0" dirty="0">
              <a:latin typeface="Arial Regular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D8DBCC-14F7-4660-954A-E9D0165FCFB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NEXT Farming</a:t>
            </a:r>
            <a:endParaRPr lang="de-DE" dirty="0"/>
          </a:p>
        </p:txBody>
      </p:sp>
      <p:sp>
        <p:nvSpPr>
          <p:cNvPr id="70" name="Foliennummernplatzhalter 2">
            <a:extLst>
              <a:ext uri="{FF2B5EF4-FFF2-40B4-BE49-F238E27FC236}">
                <a16:creationId xmlns:a16="http://schemas.microsoft.com/office/drawing/2014/main" id="{49F9A8A9-4175-B64A-A67C-2A3B8F31E0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66763" y="6571889"/>
            <a:ext cx="187552" cy="123111"/>
          </a:xfrm>
        </p:spPr>
        <p:txBody>
          <a:bodyPr/>
          <a:lstStyle/>
          <a:p>
            <a:fld id="{E6101334-2212-47E5-96F0-086CB39DE76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27E5EAE9-E063-4BAD-A25F-5FAC27F567E6}"/>
              </a:ext>
            </a:extLst>
          </p:cNvPr>
          <p:cNvSpPr/>
          <p:nvPr/>
        </p:nvSpPr>
        <p:spPr>
          <a:xfrm>
            <a:off x="5139388" y="6177644"/>
            <a:ext cx="7052612" cy="680356"/>
          </a:xfrm>
          <a:custGeom>
            <a:avLst/>
            <a:gdLst>
              <a:gd name="connsiteX0" fmla="*/ 7052612 w 7052612"/>
              <a:gd name="connsiteY0" fmla="*/ 0 h 680356"/>
              <a:gd name="connsiteX1" fmla="*/ 7052612 w 7052612"/>
              <a:gd name="connsiteY1" fmla="*/ 256482 h 680356"/>
              <a:gd name="connsiteX2" fmla="*/ 2658708 w 7052612"/>
              <a:gd name="connsiteY2" fmla="*/ 680356 h 680356"/>
              <a:gd name="connsiteX3" fmla="*/ 0 w 7052612"/>
              <a:gd name="connsiteY3" fmla="*/ 680356 h 680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52612" h="680356">
                <a:moveTo>
                  <a:pt x="7052612" y="0"/>
                </a:moveTo>
                <a:lnTo>
                  <a:pt x="7052612" y="256482"/>
                </a:lnTo>
                <a:lnTo>
                  <a:pt x="2658708" y="680356"/>
                </a:lnTo>
                <a:lnTo>
                  <a:pt x="0" y="680356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539" y="2004426"/>
            <a:ext cx="7329780" cy="3577085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6592" y="1448926"/>
            <a:ext cx="2700404" cy="480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88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NEXT Farmi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 algn="ctr">
              <a:buNone/>
            </a:pPr>
            <a:endParaRPr lang="de-DE" dirty="0" smtClean="0"/>
          </a:p>
          <a:p>
            <a:pPr marL="0" indent="0" algn="ctr">
              <a:buNone/>
            </a:pPr>
            <a:endParaRPr lang="de-DE" sz="1800" dirty="0" smtClean="0"/>
          </a:p>
          <a:p>
            <a:endParaRPr lang="de-DE" sz="1200" dirty="0" smtClean="0"/>
          </a:p>
          <a:p>
            <a:r>
              <a:rPr lang="de-DE" sz="1200" dirty="0" smtClean="0"/>
              <a:t>Zielgruppe „</a:t>
            </a:r>
            <a:r>
              <a:rPr lang="de-DE" sz="1200" dirty="0" smtClean="0"/>
              <a:t>Alle Zunhammer </a:t>
            </a:r>
            <a:r>
              <a:rPr lang="de-DE" sz="1200" dirty="0" smtClean="0"/>
              <a:t>Fässer“: </a:t>
            </a:r>
            <a:r>
              <a:rPr lang="de-DE" sz="1200" b="1" dirty="0" smtClean="0"/>
              <a:t>EUR 199,- jährlich</a:t>
            </a:r>
          </a:p>
          <a:p>
            <a:r>
              <a:rPr lang="de-DE" sz="1200" dirty="0" smtClean="0"/>
              <a:t>Zielgruppe: „</a:t>
            </a:r>
            <a:r>
              <a:rPr lang="de-DE" sz="1200" dirty="0"/>
              <a:t>Alle Zunhammer </a:t>
            </a:r>
            <a:r>
              <a:rPr lang="de-DE" sz="1200" dirty="0" smtClean="0"/>
              <a:t>ISOBUS Fässer“: </a:t>
            </a:r>
            <a:r>
              <a:rPr lang="de-DE" sz="1200" b="1" dirty="0" smtClean="0"/>
              <a:t>EUR 499,- jährlich </a:t>
            </a:r>
            <a:r>
              <a:rPr lang="de-DE" sz="1200" dirty="0" smtClean="0"/>
              <a:t>(mit</a:t>
            </a:r>
            <a:r>
              <a:rPr lang="de-DE" sz="1200" dirty="0"/>
              <a:t> </a:t>
            </a:r>
            <a:r>
              <a:rPr lang="de-DE" sz="1200" dirty="0" smtClean="0"/>
              <a:t>CCI Terminal (Maschinenübergreifend), Fässer mit FENDT, </a:t>
            </a:r>
            <a:r>
              <a:rPr lang="de-DE" sz="1200" dirty="0" err="1" smtClean="0"/>
              <a:t>Valtra</a:t>
            </a:r>
            <a:r>
              <a:rPr lang="de-DE" sz="1200" dirty="0" smtClean="0"/>
              <a:t>, MF, SDF Maschinen)</a:t>
            </a:r>
          </a:p>
          <a:p>
            <a:r>
              <a:rPr lang="de-DE" sz="1200" dirty="0" smtClean="0"/>
              <a:t>Zielgruppe „</a:t>
            </a:r>
            <a:r>
              <a:rPr lang="de-DE" sz="1200" dirty="0"/>
              <a:t>Alle Zunhammer </a:t>
            </a:r>
            <a:r>
              <a:rPr lang="de-DE" sz="1200" dirty="0" smtClean="0"/>
              <a:t>ISOBUS Fässer mit NIRS“: </a:t>
            </a:r>
            <a:r>
              <a:rPr lang="de-DE" sz="1200" b="1" dirty="0" smtClean="0"/>
              <a:t>EUR 699,- jährlich </a:t>
            </a:r>
            <a:r>
              <a:rPr lang="de-DE" sz="1200" dirty="0"/>
              <a:t>(mit CCI Terminal (Maschineübergreifend), Fässer mit FENDT, </a:t>
            </a:r>
            <a:r>
              <a:rPr lang="de-DE" sz="1200" dirty="0" err="1"/>
              <a:t>Valtra</a:t>
            </a:r>
            <a:r>
              <a:rPr lang="de-DE" sz="1200" dirty="0"/>
              <a:t>, MF, SDF Maschinen</a:t>
            </a:r>
            <a:r>
              <a:rPr lang="de-DE" sz="1200" dirty="0" smtClean="0"/>
              <a:t>)</a:t>
            </a:r>
            <a:endParaRPr lang="de-DE" sz="120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8285087"/>
              </p:ext>
            </p:extLst>
          </p:nvPr>
        </p:nvGraphicFramePr>
        <p:xfrm>
          <a:off x="954315" y="1320410"/>
          <a:ext cx="6718332" cy="281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2271">
                  <a:extLst>
                    <a:ext uri="{9D8B030D-6E8A-4147-A177-3AD203B41FA5}">
                      <a16:colId xmlns:a16="http://schemas.microsoft.com/office/drawing/2014/main" val="3024521455"/>
                    </a:ext>
                  </a:extLst>
                </a:gridCol>
                <a:gridCol w="2249778">
                  <a:extLst>
                    <a:ext uri="{9D8B030D-6E8A-4147-A177-3AD203B41FA5}">
                      <a16:colId xmlns:a16="http://schemas.microsoft.com/office/drawing/2014/main" val="3479292900"/>
                    </a:ext>
                  </a:extLst>
                </a:gridCol>
                <a:gridCol w="1903614">
                  <a:extLst>
                    <a:ext uri="{9D8B030D-6E8A-4147-A177-3AD203B41FA5}">
                      <a16:colId xmlns:a16="http://schemas.microsoft.com/office/drawing/2014/main" val="106453970"/>
                    </a:ext>
                  </a:extLst>
                </a:gridCol>
                <a:gridCol w="1612669">
                  <a:extLst>
                    <a:ext uri="{9D8B030D-6E8A-4147-A177-3AD203B41FA5}">
                      <a16:colId xmlns:a16="http://schemas.microsoft.com/office/drawing/2014/main" val="16920197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Artikel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Beschreibung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UVP Liste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UVP Pauschale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70774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120</a:t>
                      </a:r>
                      <a:r>
                        <a:rPr lang="de-DE" sz="1400" baseline="0" dirty="0" smtClean="0"/>
                        <a:t> 127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NEXT Wirtschaftsdüngeranalyse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EUR 42,50</a:t>
                      </a:r>
                      <a:r>
                        <a:rPr lang="de-DE" sz="1400" baseline="0" dirty="0" smtClean="0"/>
                        <a:t> </a:t>
                      </a:r>
                      <a:r>
                        <a:rPr lang="de-DE" sz="1400" dirty="0" smtClean="0"/>
                        <a:t>je Analyse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EUR</a:t>
                      </a:r>
                      <a:r>
                        <a:rPr lang="de-DE" sz="1400" baseline="0" dirty="0" smtClean="0"/>
                        <a:t> 42,50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95814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041 108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NEXT Starter Paket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EUR 1 je Hektar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EUR 100,-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995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041 300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NEXT Düngebedarfsermittlung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EUR 25,- + EUR 0,25</a:t>
                      </a:r>
                      <a:r>
                        <a:rPr lang="de-DE" sz="1400" baseline="0" dirty="0" smtClean="0"/>
                        <a:t> </a:t>
                      </a:r>
                      <a:r>
                        <a:rPr lang="de-DE" sz="1400" dirty="0" smtClean="0"/>
                        <a:t>je Hektar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EUR 50,-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48102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041 106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NEXT Machine</a:t>
                      </a:r>
                      <a:r>
                        <a:rPr lang="de-DE" sz="1400" baseline="0" dirty="0" smtClean="0"/>
                        <a:t> Management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EUR 350,-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EUR 350,-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96710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041 202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NEXT Applikationskartencenter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EUR</a:t>
                      </a:r>
                      <a:r>
                        <a:rPr lang="de-DE" sz="1400" baseline="0" dirty="0" smtClean="0"/>
                        <a:t> 100,- + EUR 1,- je Hektar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EUR 200,-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1238496"/>
                  </a:ext>
                </a:extLst>
              </a:tr>
            </a:tbl>
          </a:graphicData>
        </a:graphic>
      </p:graphicFrame>
      <p:sp>
        <p:nvSpPr>
          <p:cNvPr id="6" name="Geschweifte Klammer rechts 5"/>
          <p:cNvSpPr/>
          <p:nvPr/>
        </p:nvSpPr>
        <p:spPr>
          <a:xfrm>
            <a:off x="7789025" y="1379913"/>
            <a:ext cx="249382" cy="1704109"/>
          </a:xfrm>
          <a:prstGeom prst="rightBrac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Geschweifte Klammer rechts 7"/>
          <p:cNvSpPr/>
          <p:nvPr/>
        </p:nvSpPr>
        <p:spPr>
          <a:xfrm>
            <a:off x="8991989" y="1379913"/>
            <a:ext cx="249382" cy="2319251"/>
          </a:xfrm>
          <a:prstGeom prst="rightBrac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Geschweifte Klammer rechts 8"/>
          <p:cNvSpPr/>
          <p:nvPr/>
        </p:nvSpPr>
        <p:spPr>
          <a:xfrm>
            <a:off x="10560713" y="1379912"/>
            <a:ext cx="249382" cy="2754818"/>
          </a:xfrm>
          <a:prstGeom prst="rightBrac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31">
            <a:extLst>
              <a:ext uri="{FF2B5EF4-FFF2-40B4-BE49-F238E27FC236}">
                <a16:creationId xmlns:a16="http://schemas.microsoft.com/office/drawing/2014/main" id="{6281CF87-85BF-B749-9183-98615FEDAB7B}"/>
              </a:ext>
            </a:extLst>
          </p:cNvPr>
          <p:cNvSpPr>
            <a:spLocks/>
          </p:cNvSpPr>
          <p:nvPr/>
        </p:nvSpPr>
        <p:spPr bwMode="gray">
          <a:xfrm>
            <a:off x="8161907" y="1887774"/>
            <a:ext cx="706582" cy="68838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numCol="1" spcCol="72000" rtlCol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lvl="1" defTabSz="91440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10000"/>
              <a:tabLst>
                <a:tab pos="1255713" algn="r"/>
              </a:tabLst>
              <a:defRPr/>
            </a:pPr>
            <a:r>
              <a:rPr lang="de-DE" altLang="de-DE" sz="1100" kern="600" dirty="0" smtClean="0">
                <a:solidFill>
                  <a:schemeClr val="tx1"/>
                </a:solidFill>
                <a:cs typeface="Arial" panose="020B0604020202020204" pitchFamily="34" charset="0"/>
              </a:rPr>
              <a:t>Für jedes Fass, auch ohne ISOBUS</a:t>
            </a:r>
          </a:p>
        </p:txBody>
      </p:sp>
      <p:sp>
        <p:nvSpPr>
          <p:cNvPr id="11" name="Rechteck 31">
            <a:extLst>
              <a:ext uri="{FF2B5EF4-FFF2-40B4-BE49-F238E27FC236}">
                <a16:creationId xmlns:a16="http://schemas.microsoft.com/office/drawing/2014/main" id="{6281CF87-85BF-B749-9183-98615FEDAB7B}"/>
              </a:ext>
            </a:extLst>
          </p:cNvPr>
          <p:cNvSpPr>
            <a:spLocks/>
          </p:cNvSpPr>
          <p:nvPr/>
        </p:nvSpPr>
        <p:spPr bwMode="gray">
          <a:xfrm>
            <a:off x="9364871" y="2195345"/>
            <a:ext cx="706582" cy="50783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numCol="1" spcCol="72000" rtlCol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lvl="1" defTabSz="91440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10000"/>
              <a:tabLst>
                <a:tab pos="1255713" algn="r"/>
              </a:tabLst>
              <a:defRPr/>
            </a:pPr>
            <a:r>
              <a:rPr lang="de-DE" altLang="de-DE" sz="1100" kern="600" dirty="0" smtClean="0">
                <a:solidFill>
                  <a:schemeClr val="tx1"/>
                </a:solidFill>
                <a:cs typeface="Arial" panose="020B0604020202020204" pitchFamily="34" charset="0"/>
              </a:rPr>
              <a:t>Für Fässer mit ISOBUS</a:t>
            </a:r>
          </a:p>
        </p:txBody>
      </p:sp>
      <p:sp>
        <p:nvSpPr>
          <p:cNvPr id="12" name="Rechteck 31">
            <a:extLst>
              <a:ext uri="{FF2B5EF4-FFF2-40B4-BE49-F238E27FC236}">
                <a16:creationId xmlns:a16="http://schemas.microsoft.com/office/drawing/2014/main" id="{6281CF87-85BF-B749-9183-98615FEDAB7B}"/>
              </a:ext>
            </a:extLst>
          </p:cNvPr>
          <p:cNvSpPr>
            <a:spLocks/>
          </p:cNvSpPr>
          <p:nvPr/>
        </p:nvSpPr>
        <p:spPr bwMode="gray">
          <a:xfrm>
            <a:off x="10926473" y="2503405"/>
            <a:ext cx="837204" cy="50783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numCol="1" spcCol="72000" rtlCol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lvl="1" defTabSz="91440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10000"/>
              <a:tabLst>
                <a:tab pos="1255713" algn="r"/>
              </a:tabLst>
              <a:defRPr/>
            </a:pPr>
            <a:r>
              <a:rPr lang="de-DE" altLang="de-DE" sz="1100" kern="600" dirty="0" smtClean="0">
                <a:solidFill>
                  <a:schemeClr val="tx1"/>
                </a:solidFill>
                <a:cs typeface="Arial" panose="020B0604020202020204" pitchFamily="34" charset="0"/>
              </a:rPr>
              <a:t>Für Fässer mit ISOBUS und </a:t>
            </a:r>
            <a:r>
              <a:rPr lang="de-DE" altLang="de-DE" sz="1100" kern="600" dirty="0" smtClean="0">
                <a:solidFill>
                  <a:schemeClr val="tx1"/>
                </a:solidFill>
                <a:cs typeface="Arial" panose="020B0604020202020204" pitchFamily="34" charset="0"/>
              </a:rPr>
              <a:t>NIRS</a:t>
            </a:r>
            <a:endParaRPr lang="de-DE" altLang="de-DE" sz="1100" kern="600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6" name="Oval 21">
            <a:extLst>
              <a:ext uri="{FF2B5EF4-FFF2-40B4-BE49-F238E27FC236}">
                <a16:creationId xmlns:a16="http://schemas.microsoft.com/office/drawing/2014/main" id="{789A092B-580E-9D44-B3A7-C605C11E650F}"/>
              </a:ext>
            </a:extLst>
          </p:cNvPr>
          <p:cNvSpPr/>
          <p:nvPr/>
        </p:nvSpPr>
        <p:spPr>
          <a:xfrm>
            <a:off x="9726203" y="513223"/>
            <a:ext cx="1245503" cy="1245503"/>
          </a:xfrm>
          <a:prstGeom prst="ellipse">
            <a:avLst/>
          </a:prstGeom>
          <a:solidFill>
            <a:srgbClr val="FFC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108000" rIns="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1000" dirty="0" smtClean="0">
                <a:solidFill>
                  <a:schemeClr val="bg1"/>
                </a:solidFill>
              </a:rPr>
              <a:t>Auch für OFFICE</a:t>
            </a:r>
            <a:r>
              <a:rPr lang="de-DE" sz="1000" dirty="0">
                <a:solidFill>
                  <a:schemeClr val="bg1"/>
                </a:solidFill>
              </a:rPr>
              <a:t/>
            </a:r>
            <a:br>
              <a:rPr lang="de-DE" sz="1000" dirty="0">
                <a:solidFill>
                  <a:schemeClr val="bg1"/>
                </a:solidFill>
              </a:rPr>
            </a:br>
            <a:r>
              <a:rPr lang="de-DE" sz="1000" dirty="0" smtClean="0">
                <a:solidFill>
                  <a:schemeClr val="bg1"/>
                </a:solidFill>
              </a:rPr>
              <a:t>Kunden – </a:t>
            </a:r>
            <a:br>
              <a:rPr lang="de-DE" sz="1000" dirty="0" smtClean="0">
                <a:solidFill>
                  <a:schemeClr val="bg1"/>
                </a:solidFill>
              </a:rPr>
            </a:br>
            <a:r>
              <a:rPr lang="de-DE" sz="1000" dirty="0" smtClean="0">
                <a:solidFill>
                  <a:schemeClr val="bg1"/>
                </a:solidFill>
              </a:rPr>
              <a:t>PL in </a:t>
            </a:r>
            <a:br>
              <a:rPr lang="de-DE" sz="1000" dirty="0" smtClean="0">
                <a:solidFill>
                  <a:schemeClr val="bg1"/>
                </a:solidFill>
              </a:rPr>
            </a:br>
            <a:r>
              <a:rPr lang="de-DE" sz="1000" dirty="0" smtClean="0">
                <a:solidFill>
                  <a:schemeClr val="bg1"/>
                </a:solidFill>
              </a:rPr>
              <a:t>Erstellung</a:t>
            </a:r>
            <a:endParaRPr lang="de-DE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18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Weiteres Vorgeh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04872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42179F7-712C-49B9-931A-73E40D9148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045" name="think-cell Folie" r:id="rId6" imgW="347" imgH="348" progId="TCLayout.ActiveDocument.1">
                  <p:embed/>
                </p:oleObj>
              </mc:Choice>
              <mc:Fallback>
                <p:oleObj name="think-cell Folie" r:id="rId6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42179F7-712C-49B9-931A-73E40D914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3156D388-1FFA-41B4-B378-890C2D8C9D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spcAft>
                <a:spcPts val="1200"/>
              </a:spcAft>
            </a:pPr>
            <a:endParaRPr lang="de-DE" sz="2000" kern="600" spc="0" dirty="0">
              <a:latin typeface="Arial Regular"/>
              <a:ea typeface="+mj-ea"/>
              <a:cs typeface="+mj-cs"/>
              <a:sym typeface="Arial Regular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BC87664-6921-4362-9C9C-C3F94B863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  <a:solidFill>
            <a:schemeClr val="tx2"/>
          </a:solidFill>
        </p:spPr>
        <p:txBody>
          <a:bodyPr/>
          <a:lstStyle/>
          <a:p>
            <a:pPr>
              <a:defRPr/>
            </a:pPr>
            <a:r>
              <a:rPr lang="de-DE" kern="0" dirty="0" smtClean="0">
                <a:latin typeface="Arial Regular"/>
              </a:rPr>
              <a:t>Weiteres Vorgehen </a:t>
            </a:r>
            <a:endParaRPr lang="de-DE" kern="0" dirty="0">
              <a:latin typeface="Arial Regular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F1F71FE-38EE-42C5-977B-B8C8B44923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66763" y="6571889"/>
            <a:ext cx="187552" cy="123111"/>
          </a:xfrm>
        </p:spPr>
        <p:txBody>
          <a:bodyPr/>
          <a:lstStyle/>
          <a:p>
            <a:fld id="{E6101334-2212-47E5-96F0-086CB39DE767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D8DBCC-14F7-4660-954A-E9D0165FCFB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NEXT Farming</a:t>
            </a:r>
            <a:endParaRPr lang="de-DE" dirty="0"/>
          </a:p>
        </p:txBody>
      </p:sp>
      <p:sp>
        <p:nvSpPr>
          <p:cNvPr id="7" name="Rechteck 7">
            <a:extLst>
              <a:ext uri="{FF2B5EF4-FFF2-40B4-BE49-F238E27FC236}">
                <a16:creationId xmlns:a16="http://schemas.microsoft.com/office/drawing/2014/main" id="{E22A707A-4BE7-0841-8C42-FC4C741BD951}"/>
              </a:ext>
            </a:extLst>
          </p:cNvPr>
          <p:cNvSpPr/>
          <p:nvPr/>
        </p:nvSpPr>
        <p:spPr>
          <a:xfrm>
            <a:off x="794505" y="1196976"/>
            <a:ext cx="330446" cy="1113764"/>
          </a:xfrm>
          <a:prstGeom prst="rect">
            <a:avLst/>
          </a:prstGeom>
          <a:noFill/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ctr" anchorCtr="0"/>
          <a:lstStyle/>
          <a:p>
            <a:pPr algn="ctr">
              <a:spcBef>
                <a:spcPts val="600"/>
              </a:spcBef>
              <a:buClr>
                <a:srgbClr val="116656"/>
              </a:buClr>
              <a:buSzPct val="120000"/>
            </a:pPr>
            <a:r>
              <a:rPr lang="de-DE" sz="60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BC20713-AF5B-3C4A-A884-BAE636BD7C53}"/>
              </a:ext>
            </a:extLst>
          </p:cNvPr>
          <p:cNvSpPr/>
          <p:nvPr/>
        </p:nvSpPr>
        <p:spPr>
          <a:xfrm>
            <a:off x="794505" y="2565622"/>
            <a:ext cx="330446" cy="1113764"/>
          </a:xfrm>
          <a:prstGeom prst="rect">
            <a:avLst/>
          </a:prstGeom>
          <a:noFill/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ctr" anchorCtr="0"/>
          <a:lstStyle/>
          <a:p>
            <a:pPr algn="ctr">
              <a:spcBef>
                <a:spcPts val="600"/>
              </a:spcBef>
              <a:buClr>
                <a:srgbClr val="116656"/>
              </a:buClr>
              <a:buSzPct val="120000"/>
            </a:pPr>
            <a:r>
              <a:rPr lang="de-DE" sz="60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" name="Rechteck 7">
            <a:extLst>
              <a:ext uri="{FF2B5EF4-FFF2-40B4-BE49-F238E27FC236}">
                <a16:creationId xmlns:a16="http://schemas.microsoft.com/office/drawing/2014/main" id="{BEB7CDF2-1BA5-4F41-8B99-50C844CE7E41}"/>
              </a:ext>
            </a:extLst>
          </p:cNvPr>
          <p:cNvSpPr/>
          <p:nvPr/>
        </p:nvSpPr>
        <p:spPr>
          <a:xfrm>
            <a:off x="794505" y="3934267"/>
            <a:ext cx="330446" cy="1113764"/>
          </a:xfrm>
          <a:prstGeom prst="rect">
            <a:avLst/>
          </a:prstGeom>
          <a:noFill/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ctr" anchorCtr="0"/>
          <a:lstStyle/>
          <a:p>
            <a:pPr algn="ctr">
              <a:spcBef>
                <a:spcPts val="600"/>
              </a:spcBef>
              <a:buClr>
                <a:srgbClr val="116656"/>
              </a:buClr>
              <a:buSzPct val="120000"/>
            </a:pPr>
            <a:r>
              <a:rPr lang="de-DE" sz="60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0" name="Rechteck 7">
            <a:extLst>
              <a:ext uri="{FF2B5EF4-FFF2-40B4-BE49-F238E27FC236}">
                <a16:creationId xmlns:a16="http://schemas.microsoft.com/office/drawing/2014/main" id="{84C31F4C-38EC-D342-B807-0CC6294E8F9B}"/>
              </a:ext>
            </a:extLst>
          </p:cNvPr>
          <p:cNvSpPr/>
          <p:nvPr/>
        </p:nvSpPr>
        <p:spPr>
          <a:xfrm>
            <a:off x="794505" y="5302911"/>
            <a:ext cx="330446" cy="1113764"/>
          </a:xfrm>
          <a:prstGeom prst="rect">
            <a:avLst/>
          </a:prstGeom>
          <a:noFill/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ctr" anchorCtr="0"/>
          <a:lstStyle/>
          <a:p>
            <a:pPr algn="ctr">
              <a:spcBef>
                <a:spcPts val="600"/>
              </a:spcBef>
              <a:buClr>
                <a:srgbClr val="116656"/>
              </a:buClr>
              <a:buSzPct val="120000"/>
            </a:pPr>
            <a:r>
              <a:rPr lang="de-DE" sz="60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BCDD24B3-0EB7-624C-A38A-AC0DA805F0B1}"/>
              </a:ext>
            </a:extLst>
          </p:cNvPr>
          <p:cNvSpPr/>
          <p:nvPr/>
        </p:nvSpPr>
        <p:spPr>
          <a:xfrm>
            <a:off x="8758530" y="4306162"/>
            <a:ext cx="2582820" cy="2141626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3" name="Freihandform: Form 56">
            <a:extLst>
              <a:ext uri="{FF2B5EF4-FFF2-40B4-BE49-F238E27FC236}">
                <a16:creationId xmlns:a16="http://schemas.microsoft.com/office/drawing/2014/main" id="{2C4FD8F6-63A5-6F48-B8A5-E92079C21F90}"/>
              </a:ext>
            </a:extLst>
          </p:cNvPr>
          <p:cNvSpPr/>
          <p:nvPr/>
        </p:nvSpPr>
        <p:spPr>
          <a:xfrm>
            <a:off x="1304145" y="1302150"/>
            <a:ext cx="6886720" cy="890029"/>
          </a:xfrm>
          <a:prstGeom prst="homePlate">
            <a:avLst>
              <a:gd name="adj" fmla="val 41023"/>
            </a:avLst>
          </a:prstGeom>
          <a:solidFill>
            <a:schemeClr val="bg2"/>
          </a:solidFill>
          <a:ln>
            <a:noFill/>
          </a:ln>
        </p:spPr>
        <p:txBody>
          <a:bodyPr vert="horz" wrap="square" lIns="288000" tIns="72000" rIns="0" bIns="72000" rtlCol="0" anchor="ctr">
            <a:noAutofit/>
          </a:bodyPr>
          <a:lstStyle/>
          <a:p>
            <a:pPr>
              <a:spcBef>
                <a:spcPts val="600"/>
              </a:spcBef>
              <a:buClr>
                <a:srgbClr val="116656"/>
              </a:buClr>
              <a:buSzPct val="120000"/>
            </a:pP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ntscheidung, ob wir mit den Paketen bereits vor Abschluss der NMM Anpassungen aktiv werden wollen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Freihandform: Form 56">
            <a:extLst>
              <a:ext uri="{FF2B5EF4-FFF2-40B4-BE49-F238E27FC236}">
                <a16:creationId xmlns:a16="http://schemas.microsoft.com/office/drawing/2014/main" id="{31E3283B-C0C1-FF42-8833-863831D93938}"/>
              </a:ext>
            </a:extLst>
          </p:cNvPr>
          <p:cNvSpPr/>
          <p:nvPr/>
        </p:nvSpPr>
        <p:spPr>
          <a:xfrm>
            <a:off x="1304145" y="2681771"/>
            <a:ext cx="5758391" cy="890029"/>
          </a:xfrm>
          <a:prstGeom prst="homePlate">
            <a:avLst>
              <a:gd name="adj" fmla="val 41023"/>
            </a:avLst>
          </a:prstGeom>
          <a:solidFill>
            <a:schemeClr val="bg2"/>
          </a:solidFill>
          <a:ln>
            <a:noFill/>
          </a:ln>
        </p:spPr>
        <p:txBody>
          <a:bodyPr vert="horz" wrap="square" lIns="288000" tIns="72000" rIns="0" bIns="72000" rtlCol="0" anchor="ctr">
            <a:noAutofit/>
          </a:bodyPr>
          <a:lstStyle/>
          <a:p>
            <a:pPr>
              <a:spcBef>
                <a:spcPts val="600"/>
              </a:spcBef>
              <a:buClr>
                <a:srgbClr val="116656"/>
              </a:buClr>
              <a:buSzPct val="120000"/>
            </a:pP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estschreiben der konkreten Prozesse und Vorgehen (Wer macht was)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Freihandform: Form 56">
            <a:extLst>
              <a:ext uri="{FF2B5EF4-FFF2-40B4-BE49-F238E27FC236}">
                <a16:creationId xmlns:a16="http://schemas.microsoft.com/office/drawing/2014/main" id="{D79B4A42-698C-7742-A7E2-376350FCABD3}"/>
              </a:ext>
            </a:extLst>
          </p:cNvPr>
          <p:cNvSpPr/>
          <p:nvPr/>
        </p:nvSpPr>
        <p:spPr>
          <a:xfrm>
            <a:off x="1304145" y="4061392"/>
            <a:ext cx="4543202" cy="890029"/>
          </a:xfrm>
          <a:prstGeom prst="homePlate">
            <a:avLst>
              <a:gd name="adj" fmla="val 41023"/>
            </a:avLst>
          </a:prstGeom>
          <a:solidFill>
            <a:schemeClr val="bg2"/>
          </a:solidFill>
          <a:ln>
            <a:noFill/>
          </a:ln>
        </p:spPr>
        <p:txBody>
          <a:bodyPr vert="horz" wrap="square" lIns="288000" tIns="72000" rIns="0" bIns="72000" rtlCol="0" anchor="ctr">
            <a:noAutofit/>
          </a:bodyPr>
          <a:lstStyle/>
          <a:p>
            <a:pPr>
              <a:spcBef>
                <a:spcPts val="600"/>
              </a:spcBef>
              <a:buClr>
                <a:srgbClr val="116656"/>
              </a:buClr>
              <a:buSzPct val="120000"/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Interne Schulungen / Händler Schulungen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ihandform: Form 56">
            <a:extLst>
              <a:ext uri="{FF2B5EF4-FFF2-40B4-BE49-F238E27FC236}">
                <a16:creationId xmlns:a16="http://schemas.microsoft.com/office/drawing/2014/main" id="{EE7CA45D-4620-3642-A4AC-1D80E15824FB}"/>
              </a:ext>
            </a:extLst>
          </p:cNvPr>
          <p:cNvSpPr/>
          <p:nvPr/>
        </p:nvSpPr>
        <p:spPr>
          <a:xfrm>
            <a:off x="1304145" y="5441013"/>
            <a:ext cx="3412234" cy="890029"/>
          </a:xfrm>
          <a:prstGeom prst="homePlate">
            <a:avLst>
              <a:gd name="adj" fmla="val 41023"/>
            </a:avLst>
          </a:prstGeom>
          <a:solidFill>
            <a:schemeClr val="bg2"/>
          </a:solidFill>
          <a:ln>
            <a:noFill/>
          </a:ln>
        </p:spPr>
        <p:txBody>
          <a:bodyPr vert="horz" wrap="square" lIns="288000" tIns="72000" rIns="0" bIns="72000" rtlCol="0" anchor="ctr">
            <a:noAutofit/>
          </a:bodyPr>
          <a:lstStyle/>
          <a:p>
            <a:pPr>
              <a:spcBef>
                <a:spcPts val="600"/>
              </a:spcBef>
              <a:buClr>
                <a:srgbClr val="116656"/>
              </a:buClr>
              <a:buSzPct val="120000"/>
            </a:pP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Umsetzung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BD2B939D-680F-044D-88C2-6704EE53400E}"/>
              </a:ext>
            </a:extLst>
          </p:cNvPr>
          <p:cNvSpPr txBox="1">
            <a:spLocks/>
          </p:cNvSpPr>
          <p:nvPr/>
        </p:nvSpPr>
        <p:spPr>
          <a:xfrm>
            <a:off x="4947933" y="5339643"/>
            <a:ext cx="3021872" cy="1113766"/>
          </a:xfrm>
          <a:prstGeom prst="rect">
            <a:avLst/>
          </a:prstGeom>
        </p:spPr>
        <p:txBody>
          <a:bodyPr vert="horz" lIns="0" tIns="0" rIns="0" bIns="0" numCol="1" spcCol="540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</a:pPr>
            <a:r>
              <a:rPr lang="de-DE" sz="1200" spc="0" dirty="0" smtClean="0"/>
              <a:t>Vertrieb </a:t>
            </a:r>
            <a:r>
              <a:rPr lang="de-DE" sz="1200" spc="0" dirty="0" smtClean="0">
                <a:sym typeface="Wingdings" panose="05000000000000000000" pitchFamily="2" charset="2"/>
              </a:rPr>
              <a:t></a:t>
            </a:r>
            <a:endParaRPr lang="de-DE" sz="1200" spc="0" dirty="0">
              <a:solidFill>
                <a:schemeClr val="accent6"/>
              </a:solidFill>
            </a:endParaRP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54077545-B3CA-D746-851F-120AC3D768CF}"/>
              </a:ext>
            </a:extLst>
          </p:cNvPr>
          <p:cNvSpPr txBox="1">
            <a:spLocks/>
          </p:cNvSpPr>
          <p:nvPr/>
        </p:nvSpPr>
        <p:spPr>
          <a:xfrm>
            <a:off x="6099744" y="3960888"/>
            <a:ext cx="3021872" cy="1113766"/>
          </a:xfrm>
          <a:prstGeom prst="rect">
            <a:avLst/>
          </a:prstGeom>
        </p:spPr>
        <p:txBody>
          <a:bodyPr vert="horz" lIns="0" tIns="0" rIns="0" bIns="0" numCol="1" spcCol="540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</a:pPr>
            <a:r>
              <a:rPr lang="de-DE" sz="1200" spc="0" dirty="0" smtClean="0"/>
              <a:t>Schaffung einer einheitlichen Wissensbasis aller Beteiligten</a:t>
            </a:r>
            <a:endParaRPr lang="de-DE" sz="1200" spc="0" dirty="0">
              <a:solidFill>
                <a:schemeClr val="accent6"/>
              </a:solidFill>
            </a:endParaRPr>
          </a:p>
        </p:txBody>
      </p: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45DC42E6-4D43-124F-8197-07260536CC65}"/>
              </a:ext>
            </a:extLst>
          </p:cNvPr>
          <p:cNvSpPr txBox="1">
            <a:spLocks/>
          </p:cNvSpPr>
          <p:nvPr/>
        </p:nvSpPr>
        <p:spPr>
          <a:xfrm>
            <a:off x="7251555" y="2582134"/>
            <a:ext cx="3021872" cy="1113766"/>
          </a:xfrm>
          <a:prstGeom prst="rect">
            <a:avLst/>
          </a:prstGeom>
        </p:spPr>
        <p:txBody>
          <a:bodyPr vert="horz" lIns="0" tIns="0" rIns="0" bIns="0" numCol="1" spcCol="540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</a:pPr>
            <a:r>
              <a:rPr lang="de-DE" sz="1200" spc="0" dirty="0" smtClean="0"/>
              <a:t>Wie und wo kauft der Kunde das Paket? Wie wird der Kauf an NEXT Farming übermittelt?</a:t>
            </a:r>
            <a:endParaRPr lang="de-DE" sz="1200" spc="0" dirty="0">
              <a:solidFill>
                <a:schemeClr val="accent6"/>
              </a:solidFill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D0CD8232-2EBC-4410-AEA8-79251EB541F0}"/>
              </a:ext>
            </a:extLst>
          </p:cNvPr>
          <p:cNvSpPr/>
          <p:nvPr/>
        </p:nvSpPr>
        <p:spPr>
          <a:xfrm>
            <a:off x="5139388" y="6177644"/>
            <a:ext cx="7052612" cy="680356"/>
          </a:xfrm>
          <a:custGeom>
            <a:avLst/>
            <a:gdLst>
              <a:gd name="connsiteX0" fmla="*/ 7052612 w 7052612"/>
              <a:gd name="connsiteY0" fmla="*/ 0 h 680356"/>
              <a:gd name="connsiteX1" fmla="*/ 7052612 w 7052612"/>
              <a:gd name="connsiteY1" fmla="*/ 256482 h 680356"/>
              <a:gd name="connsiteX2" fmla="*/ 2658708 w 7052612"/>
              <a:gd name="connsiteY2" fmla="*/ 680356 h 680356"/>
              <a:gd name="connsiteX3" fmla="*/ 0 w 7052612"/>
              <a:gd name="connsiteY3" fmla="*/ 680356 h 680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52612" h="680356">
                <a:moveTo>
                  <a:pt x="7052612" y="0"/>
                </a:moveTo>
                <a:lnTo>
                  <a:pt x="7052612" y="256482"/>
                </a:lnTo>
                <a:lnTo>
                  <a:pt x="2658708" y="680356"/>
                </a:lnTo>
                <a:lnTo>
                  <a:pt x="0" y="680356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254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Generalverwaltung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o2N5sZ9kszQBtL4n4B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0LpXoumvuURVZymWQR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6jtU7nt0fRovSxeWgQ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kHTJfUrRuYn7q_SxfL4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bqoQVi9bcLefJPOM1N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fbhpXQ_M0DOhh5xW9Gz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XT Farming 2020">
  <a:themeElements>
    <a:clrScheme name="Benutzerdefiniert 93">
      <a:dk1>
        <a:srgbClr val="000000"/>
      </a:dk1>
      <a:lt1>
        <a:srgbClr val="FFFFFF"/>
      </a:lt1>
      <a:dk2>
        <a:srgbClr val="44A12C"/>
      </a:dk2>
      <a:lt2>
        <a:srgbClr val="F2F2F2"/>
      </a:lt2>
      <a:accent1>
        <a:srgbClr val="44A12C"/>
      </a:accent1>
      <a:accent2>
        <a:srgbClr val="74B56E"/>
      </a:accent2>
      <a:accent3>
        <a:srgbClr val="A9CB61"/>
      </a:accent3>
      <a:accent4>
        <a:srgbClr val="B3E0CB"/>
      </a:accent4>
      <a:accent5>
        <a:srgbClr val="CDDC00"/>
      </a:accent5>
      <a:accent6>
        <a:srgbClr val="369A48"/>
      </a:accent6>
      <a:hlink>
        <a:srgbClr val="000000"/>
      </a:hlink>
      <a:folHlink>
        <a:srgbClr val="000000"/>
      </a:folHlink>
    </a:clrScheme>
    <a:fontScheme name="NEXT Farm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noFill/>
        </a:ln>
      </a:spPr>
      <a:bodyPr lIns="72000" tIns="72000" rIns="72000" bIns="72000" rtlCol="0" anchor="t"/>
      <a:lstStyle>
        <a:defPPr algn="l">
          <a:spcAft>
            <a:spcPts val="1200"/>
          </a:spcAft>
          <a:defRPr sz="1400" kern="600" spc="0" baseline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355600" indent="-355600" algn="l">
          <a:spcAft>
            <a:spcPts val="1200"/>
          </a:spcAft>
          <a:buClr>
            <a:schemeClr val="tx2"/>
          </a:buClr>
          <a:buFont typeface="Arial" panose="020B0604020202020204" pitchFamily="34" charset="0"/>
          <a:buChar char="&gt;"/>
          <a:defRPr sz="1400" kern="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10EK_20201215_NEXT iBlankomaster" id="{0F6D86C9-80BC-034F-883C-43AA2FDCA5CA}" vid="{D597EA1F-4E47-A649-8367-2B290744CFC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omaster</Template>
  <TotalTime>0</TotalTime>
  <Words>404</Words>
  <Application>Microsoft Office PowerPoint</Application>
  <PresentationFormat>Breitbild</PresentationFormat>
  <Paragraphs>99</Paragraphs>
  <Slides>9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7" baseType="lpstr">
      <vt:lpstr>ＭＳ Ｐゴシック</vt:lpstr>
      <vt:lpstr>Arial</vt:lpstr>
      <vt:lpstr>Arial Regular</vt:lpstr>
      <vt:lpstr>Arial Unicode MS</vt:lpstr>
      <vt:lpstr>Calibri</vt:lpstr>
      <vt:lpstr>Wingdings</vt:lpstr>
      <vt:lpstr>NEXT Farming 2020</vt:lpstr>
      <vt:lpstr>think-cell Folie</vt:lpstr>
      <vt:lpstr>Use Case „Gülletechnik“</vt:lpstr>
      <vt:lpstr>Wirtschaftsdünger </vt:lpstr>
      <vt:lpstr>Wirtschaftsdüngeranalyse und Stammdatensatz erzeugen </vt:lpstr>
      <vt:lpstr>DBE und Maßnahmenplanung</vt:lpstr>
      <vt:lpstr>Maßnahme</vt:lpstr>
      <vt:lpstr>Dokumentation mit spezifischem Stammdatensatz</vt:lpstr>
      <vt:lpstr>PowerPoint-Präsentation</vt:lpstr>
      <vt:lpstr>PowerPoint-Präsentation</vt:lpstr>
      <vt:lpstr>Weiteres Vorgehen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KE – AAG – NEXT Machine Management</dc:title>
  <dc:subject/>
  <dc:creator>Wiener Alexander</dc:creator>
  <cp:keywords/>
  <dc:description/>
  <cp:lastModifiedBy>Wiener Alexander</cp:lastModifiedBy>
  <cp:revision>38</cp:revision>
  <dcterms:created xsi:type="dcterms:W3CDTF">2021-10-02T09:48:06Z</dcterms:created>
  <dcterms:modified xsi:type="dcterms:W3CDTF">2021-12-08T11:08:15Z</dcterms:modified>
  <cp:category/>
</cp:coreProperties>
</file>